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heme/theme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2" r:id="rId4"/>
  </p:sldMasterIdLst>
  <p:notesMasterIdLst>
    <p:notesMasterId r:id="rId10"/>
  </p:notesMasterIdLst>
  <p:handoutMasterIdLst>
    <p:handoutMasterId r:id="rId11"/>
  </p:handoutMasterIdLst>
  <p:sldIdLst>
    <p:sldId id="2147481080" r:id="rId5"/>
    <p:sldId id="2147481077" r:id="rId6"/>
    <p:sldId id="2147481078" r:id="rId7"/>
    <p:sldId id="2147481079" r:id="rId8"/>
    <p:sldId id="2147481081" r:id="rId9"/>
  </p:sldIdLst>
  <p:sldSz cx="9144000" cy="5143500" type="screen16x9"/>
  <p:notesSz cx="6797675" cy="9928225"/>
  <p:custDataLst>
    <p:tags r:id="rId12"/>
  </p:custDataLst>
  <p:defaultTextStyle>
    <a:defPPr>
      <a:defRPr lang="de-DE"/>
    </a:defPPr>
    <a:lvl1pPr marL="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71" clrIdx="0">
    <p:extLst>
      <p:ext uri="{19B8F6BF-5375-455C-9EA6-DF929625EA0E}">
        <p15:presenceInfo xmlns:p15="http://schemas.microsoft.com/office/powerpoint/2012/main" userId="Christina Drimm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3"/>
    <a:srgbClr val="E9E9EC"/>
    <a:srgbClr val="DF4647"/>
    <a:srgbClr val="000000"/>
    <a:srgbClr val="758E6E"/>
    <a:srgbClr val="A3B39E"/>
    <a:srgbClr val="597750"/>
    <a:srgbClr val="D1D9CF"/>
    <a:srgbClr val="C9E4EF"/>
    <a:srgbClr val="9BC9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073F3F-DB01-C40A-3B00-1D1356DC2442}" v="29" dt="2026-01-23T16:01:58.392"/>
    <p1510:client id="{DD419415-9486-49D7-BB49-B81CD141F683}" v="8" dt="2026-01-23T16:36:37.658"/>
    <p1510:client id="{F55B9BB3-368E-875B-A74E-F4ADC9D7767A}" v="1" dt="2026-01-23T15:58:39.4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Stile con tema 1 - Color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Stile con tema 1 - Color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1186" y="29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ffaella Ciarlo" userId="1a723005-304b-4d40-b4e9-f6d05379be60" providerId="ADAL" clId="{81A9D9C1-017F-43C6-A378-BC6369963383}"/>
    <pc:docChg chg="undo custSel modSld">
      <pc:chgData name="Raffaella Ciarlo" userId="1a723005-304b-4d40-b4e9-f6d05379be60" providerId="ADAL" clId="{81A9D9C1-017F-43C6-A378-BC6369963383}" dt="2026-01-23T16:36:44.251" v="66" actId="34135"/>
      <pc:docMkLst>
        <pc:docMk/>
      </pc:docMkLst>
      <pc:sldChg chg="modSp mod">
        <pc:chgData name="Raffaella Ciarlo" userId="1a723005-304b-4d40-b4e9-f6d05379be60" providerId="ADAL" clId="{81A9D9C1-017F-43C6-A378-BC6369963383}" dt="2026-01-23T16:35:54.326" v="62" actId="34136"/>
        <pc:sldMkLst>
          <pc:docMk/>
          <pc:sldMk cId="2598119486" sldId="2147481077"/>
        </pc:sldMkLst>
        <pc:spChg chg="mod">
          <ac:chgData name="Raffaella Ciarlo" userId="1a723005-304b-4d40-b4e9-f6d05379be60" providerId="ADAL" clId="{81A9D9C1-017F-43C6-A378-BC6369963383}" dt="2026-01-23T16:30:59.058" v="58" actId="34135"/>
          <ac:spMkLst>
            <pc:docMk/>
            <pc:sldMk cId="2598119486" sldId="2147481077"/>
            <ac:spMk id="7" creationId="{BB00B8DD-DA31-0327-39B6-C7CE36EC6D50}"/>
          </ac:spMkLst>
        </pc:spChg>
        <pc:spChg chg="mod">
          <ac:chgData name="Raffaella Ciarlo" userId="1a723005-304b-4d40-b4e9-f6d05379be60" providerId="ADAL" clId="{81A9D9C1-017F-43C6-A378-BC6369963383}" dt="2026-01-23T16:30:59.058" v="58" actId="34135"/>
          <ac:spMkLst>
            <pc:docMk/>
            <pc:sldMk cId="2598119486" sldId="2147481077"/>
            <ac:spMk id="10" creationId="{1285814F-676E-258F-BEAA-E1E4C16D1923}"/>
          </ac:spMkLst>
        </pc:spChg>
        <pc:spChg chg="mod">
          <ac:chgData name="Raffaella Ciarlo" userId="1a723005-304b-4d40-b4e9-f6d05379be60" providerId="ADAL" clId="{81A9D9C1-017F-43C6-A378-BC6369963383}" dt="2026-01-23T16:29:55.074" v="46" actId="34135"/>
          <ac:spMkLst>
            <pc:docMk/>
            <pc:sldMk cId="2598119486" sldId="2147481077"/>
            <ac:spMk id="11" creationId="{E0741859-F562-51AD-2E5B-BD2CBAB616CC}"/>
          </ac:spMkLst>
        </pc:spChg>
        <pc:spChg chg="mod">
          <ac:chgData name="Raffaella Ciarlo" userId="1a723005-304b-4d40-b4e9-f6d05379be60" providerId="ADAL" clId="{81A9D9C1-017F-43C6-A378-BC6369963383}" dt="2026-01-23T16:29:55.074" v="46" actId="34135"/>
          <ac:spMkLst>
            <pc:docMk/>
            <pc:sldMk cId="2598119486" sldId="2147481077"/>
            <ac:spMk id="29" creationId="{D7088C2A-CE10-D11B-3451-83D27C8EBCD4}"/>
          </ac:spMkLst>
        </pc:spChg>
        <pc:picChg chg="mod">
          <ac:chgData name="Raffaella Ciarlo" userId="1a723005-304b-4d40-b4e9-f6d05379be60" providerId="ADAL" clId="{81A9D9C1-017F-43C6-A378-BC6369963383}" dt="2026-01-23T16:35:54.326" v="62" actId="34136"/>
          <ac:picMkLst>
            <pc:docMk/>
            <pc:sldMk cId="2598119486" sldId="2147481077"/>
            <ac:picMk id="8" creationId="{CB72A3C8-CCD3-7885-3070-686C1CCB5C6E}"/>
          </ac:picMkLst>
        </pc:picChg>
        <pc:picChg chg="mod">
          <ac:chgData name="Raffaella Ciarlo" userId="1a723005-304b-4d40-b4e9-f6d05379be60" providerId="ADAL" clId="{81A9D9C1-017F-43C6-A378-BC6369963383}" dt="2026-01-23T16:29:55.074" v="46" actId="34135"/>
          <ac:picMkLst>
            <pc:docMk/>
            <pc:sldMk cId="2598119486" sldId="2147481077"/>
            <ac:picMk id="9" creationId="{87CD227F-FA01-FCD5-DD6A-D189F19B2A47}"/>
          </ac:picMkLst>
        </pc:picChg>
        <pc:picChg chg="mod">
          <ac:chgData name="Raffaella Ciarlo" userId="1a723005-304b-4d40-b4e9-f6d05379be60" providerId="ADAL" clId="{81A9D9C1-017F-43C6-A378-BC6369963383}" dt="2026-01-23T16:30:59.058" v="58" actId="34135"/>
          <ac:picMkLst>
            <pc:docMk/>
            <pc:sldMk cId="2598119486" sldId="2147481077"/>
            <ac:picMk id="38" creationId="{D3CF1757-EB36-7AD3-AB55-5502AF227B02}"/>
          </ac:picMkLst>
        </pc:picChg>
      </pc:sldChg>
      <pc:sldChg chg="modSp mod">
        <pc:chgData name="Raffaella Ciarlo" userId="1a723005-304b-4d40-b4e9-f6d05379be60" providerId="ADAL" clId="{81A9D9C1-017F-43C6-A378-BC6369963383}" dt="2026-01-23T16:36:03.862" v="63" actId="34136"/>
        <pc:sldMkLst>
          <pc:docMk/>
          <pc:sldMk cId="968081961" sldId="2147481078"/>
        </pc:sldMkLst>
        <pc:spChg chg="mod">
          <ac:chgData name="Raffaella Ciarlo" userId="1a723005-304b-4d40-b4e9-f6d05379be60" providerId="ADAL" clId="{81A9D9C1-017F-43C6-A378-BC6369963383}" dt="2026-01-23T16:30:06.046" v="48" actId="34135"/>
          <ac:spMkLst>
            <pc:docMk/>
            <pc:sldMk cId="968081961" sldId="2147481078"/>
            <ac:spMk id="14" creationId="{E0732CF2-6A52-9278-0F9D-592C60AF92DD}"/>
          </ac:spMkLst>
        </pc:spChg>
        <pc:spChg chg="mod">
          <ac:chgData name="Raffaella Ciarlo" userId="1a723005-304b-4d40-b4e9-f6d05379be60" providerId="ADAL" clId="{81A9D9C1-017F-43C6-A378-BC6369963383}" dt="2026-01-23T16:30:06.046" v="48" actId="34135"/>
          <ac:spMkLst>
            <pc:docMk/>
            <pc:sldMk cId="968081961" sldId="2147481078"/>
            <ac:spMk id="15" creationId="{2CD2D48F-5DE6-DC16-DEE8-95682918F821}"/>
          </ac:spMkLst>
        </pc:spChg>
        <pc:spChg chg="mod">
          <ac:chgData name="Raffaella Ciarlo" userId="1a723005-304b-4d40-b4e9-f6d05379be60" providerId="ADAL" clId="{81A9D9C1-017F-43C6-A378-BC6369963383}" dt="2026-01-23T16:30:06.046" v="48" actId="34135"/>
          <ac:spMkLst>
            <pc:docMk/>
            <pc:sldMk cId="968081961" sldId="2147481078"/>
            <ac:spMk id="21" creationId="{7DACD6B4-D3F6-AA95-9466-8E6BD4BDA6D3}"/>
          </ac:spMkLst>
        </pc:spChg>
        <pc:spChg chg="mod">
          <ac:chgData name="Raffaella Ciarlo" userId="1a723005-304b-4d40-b4e9-f6d05379be60" providerId="ADAL" clId="{81A9D9C1-017F-43C6-A378-BC6369963383}" dt="2026-01-23T16:30:06.046" v="48" actId="34135"/>
          <ac:spMkLst>
            <pc:docMk/>
            <pc:sldMk cId="968081961" sldId="2147481078"/>
            <ac:spMk id="22" creationId="{FFFD70CB-41EE-1DDF-BADB-F46249269E05}"/>
          </ac:spMkLst>
        </pc:spChg>
        <pc:picChg chg="mod">
          <ac:chgData name="Raffaella Ciarlo" userId="1a723005-304b-4d40-b4e9-f6d05379be60" providerId="ADAL" clId="{81A9D9C1-017F-43C6-A378-BC6369963383}" dt="2026-01-23T16:31:02.926" v="59" actId="34135"/>
          <ac:picMkLst>
            <pc:docMk/>
            <pc:sldMk cId="968081961" sldId="2147481078"/>
            <ac:picMk id="5" creationId="{E796CCBE-AEBE-F1C2-2835-33DEE3EF5240}"/>
          </ac:picMkLst>
        </pc:picChg>
        <pc:picChg chg="mod">
          <ac:chgData name="Raffaella Ciarlo" userId="1a723005-304b-4d40-b4e9-f6d05379be60" providerId="ADAL" clId="{81A9D9C1-017F-43C6-A378-BC6369963383}" dt="2026-01-23T16:36:03.862" v="63" actId="34136"/>
          <ac:picMkLst>
            <pc:docMk/>
            <pc:sldMk cId="968081961" sldId="2147481078"/>
            <ac:picMk id="8" creationId="{AC426E48-DA78-59BA-B2CD-7E3C1513F774}"/>
          </ac:picMkLst>
        </pc:picChg>
        <pc:picChg chg="mod">
          <ac:chgData name="Raffaella Ciarlo" userId="1a723005-304b-4d40-b4e9-f6d05379be60" providerId="ADAL" clId="{81A9D9C1-017F-43C6-A378-BC6369963383}" dt="2026-01-23T16:31:02.926" v="59" actId="34135"/>
          <ac:picMkLst>
            <pc:docMk/>
            <pc:sldMk cId="968081961" sldId="2147481078"/>
            <ac:picMk id="9" creationId="{B40860F9-CC4A-3C4F-9F7D-8C20A1190092}"/>
          </ac:picMkLst>
        </pc:picChg>
        <pc:picChg chg="mod">
          <ac:chgData name="Raffaella Ciarlo" userId="1a723005-304b-4d40-b4e9-f6d05379be60" providerId="ADAL" clId="{81A9D9C1-017F-43C6-A378-BC6369963383}" dt="2026-01-23T16:30:06.046" v="48" actId="34135"/>
          <ac:picMkLst>
            <pc:docMk/>
            <pc:sldMk cId="968081961" sldId="2147481078"/>
            <ac:picMk id="23" creationId="{688C3F73-2D51-8C3C-0DE1-BC65FF176AA0}"/>
          </ac:picMkLst>
        </pc:picChg>
      </pc:sldChg>
      <pc:sldChg chg="modSp mod">
        <pc:chgData name="Raffaella Ciarlo" userId="1a723005-304b-4d40-b4e9-f6d05379be60" providerId="ADAL" clId="{81A9D9C1-017F-43C6-A378-BC6369963383}" dt="2026-01-23T16:36:12.907" v="64" actId="34136"/>
        <pc:sldMkLst>
          <pc:docMk/>
          <pc:sldMk cId="4211109842" sldId="2147481079"/>
        </pc:sldMkLst>
        <pc:spChg chg="mod">
          <ac:chgData name="Raffaella Ciarlo" userId="1a723005-304b-4d40-b4e9-f6d05379be60" providerId="ADAL" clId="{81A9D9C1-017F-43C6-A378-BC6369963383}" dt="2026-01-23T16:31:14.119" v="60" actId="34135"/>
          <ac:spMkLst>
            <pc:docMk/>
            <pc:sldMk cId="4211109842" sldId="2147481079"/>
            <ac:spMk id="8" creationId="{8B38696B-D4A0-8ACD-D6E6-B129FB233870}"/>
          </ac:spMkLst>
        </pc:spChg>
        <pc:spChg chg="mod">
          <ac:chgData name="Raffaella Ciarlo" userId="1a723005-304b-4d40-b4e9-f6d05379be60" providerId="ADAL" clId="{81A9D9C1-017F-43C6-A378-BC6369963383}" dt="2026-01-23T16:31:14.119" v="60" actId="34135"/>
          <ac:spMkLst>
            <pc:docMk/>
            <pc:sldMk cId="4211109842" sldId="2147481079"/>
            <ac:spMk id="10" creationId="{6A14298A-8526-8625-E323-82E2F8EFB1A4}"/>
          </ac:spMkLst>
        </pc:spChg>
        <pc:spChg chg="mod">
          <ac:chgData name="Raffaella Ciarlo" userId="1a723005-304b-4d40-b4e9-f6d05379be60" providerId="ADAL" clId="{81A9D9C1-017F-43C6-A378-BC6369963383}" dt="2026-01-23T16:31:14.119" v="60" actId="34135"/>
          <ac:spMkLst>
            <pc:docMk/>
            <pc:sldMk cId="4211109842" sldId="2147481079"/>
            <ac:spMk id="11" creationId="{3DDA1211-A3E3-DC9B-5B1D-331E9D093CF2}"/>
          </ac:spMkLst>
        </pc:spChg>
        <pc:spChg chg="mod">
          <ac:chgData name="Raffaella Ciarlo" userId="1a723005-304b-4d40-b4e9-f6d05379be60" providerId="ADAL" clId="{81A9D9C1-017F-43C6-A378-BC6369963383}" dt="2026-01-23T16:31:14.119" v="60" actId="34135"/>
          <ac:spMkLst>
            <pc:docMk/>
            <pc:sldMk cId="4211109842" sldId="2147481079"/>
            <ac:spMk id="29" creationId="{61128B3D-F255-3C5E-7500-8421BE103341}"/>
          </ac:spMkLst>
        </pc:spChg>
        <pc:picChg chg="mod">
          <ac:chgData name="Raffaella Ciarlo" userId="1a723005-304b-4d40-b4e9-f6d05379be60" providerId="ADAL" clId="{81A9D9C1-017F-43C6-A378-BC6369963383}" dt="2026-01-23T16:31:14.119" v="60" actId="34135"/>
          <ac:picMkLst>
            <pc:docMk/>
            <pc:sldMk cId="4211109842" sldId="2147481079"/>
            <ac:picMk id="2" creationId="{FEDADE1F-A694-4471-81AC-47068EE8B108}"/>
          </ac:picMkLst>
        </pc:picChg>
        <pc:picChg chg="mod">
          <ac:chgData name="Raffaella Ciarlo" userId="1a723005-304b-4d40-b4e9-f6d05379be60" providerId="ADAL" clId="{81A9D9C1-017F-43C6-A378-BC6369963383}" dt="2026-01-23T16:36:12.907" v="64" actId="34136"/>
          <ac:picMkLst>
            <pc:docMk/>
            <pc:sldMk cId="4211109842" sldId="2147481079"/>
            <ac:picMk id="4" creationId="{21A7194F-EC7D-2199-C6C9-5CD684827369}"/>
          </ac:picMkLst>
        </pc:picChg>
        <pc:picChg chg="mod">
          <ac:chgData name="Raffaella Ciarlo" userId="1a723005-304b-4d40-b4e9-f6d05379be60" providerId="ADAL" clId="{81A9D9C1-017F-43C6-A378-BC6369963383}" dt="2026-01-23T16:31:14.119" v="60" actId="34135"/>
          <ac:picMkLst>
            <pc:docMk/>
            <pc:sldMk cId="4211109842" sldId="2147481079"/>
            <ac:picMk id="7" creationId="{5025D811-175F-231C-A990-CB304D7D703D}"/>
          </ac:picMkLst>
        </pc:picChg>
        <pc:picChg chg="mod">
          <ac:chgData name="Raffaella Ciarlo" userId="1a723005-304b-4d40-b4e9-f6d05379be60" providerId="ADAL" clId="{81A9D9C1-017F-43C6-A378-BC6369963383}" dt="2026-01-23T16:31:14.119" v="60" actId="34135"/>
          <ac:picMkLst>
            <pc:docMk/>
            <pc:sldMk cId="4211109842" sldId="2147481079"/>
            <ac:picMk id="9" creationId="{0A3A5476-136A-D661-8F75-4E31995DE731}"/>
          </ac:picMkLst>
        </pc:picChg>
      </pc:sldChg>
      <pc:sldChg chg="addSp delSp modSp mod">
        <pc:chgData name="Raffaella Ciarlo" userId="1a723005-304b-4d40-b4e9-f6d05379be60" providerId="ADAL" clId="{81A9D9C1-017F-43C6-A378-BC6369963383}" dt="2026-01-23T16:36:44.251" v="66" actId="34135"/>
        <pc:sldMkLst>
          <pc:docMk/>
          <pc:sldMk cId="1152167564" sldId="2147481080"/>
        </pc:sldMkLst>
        <pc:spChg chg="mod topLvl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4" creationId="{47F48666-D3B9-C7D3-9047-487AB6CA423E}"/>
          </ac:spMkLst>
        </pc:spChg>
        <pc:spChg chg="mod topLvl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6" creationId="{5B317894-0E2A-691E-E80F-472ACA1485F5}"/>
          </ac:spMkLst>
        </pc:spChg>
        <pc:spChg chg="mod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7" creationId="{1D1649FF-FFA2-8FC4-CBDD-3567E124637E}"/>
          </ac:spMkLst>
        </pc:spChg>
        <pc:spChg chg="mod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11" creationId="{F5B9B2A5-7B4E-8840-2325-04CE377AD020}"/>
          </ac:spMkLst>
        </pc:spChg>
        <pc:spChg chg="mod topLvl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12" creationId="{2F0A34C4-0AD1-5C36-2421-ADEEAFF78B1F}"/>
          </ac:spMkLst>
        </pc:spChg>
        <pc:spChg chg="mod topLvl">
          <ac:chgData name="Raffaella Ciarlo" userId="1a723005-304b-4d40-b4e9-f6d05379be60" providerId="ADAL" clId="{81A9D9C1-017F-43C6-A378-BC6369963383}" dt="2026-01-23T16:36:32.012" v="65" actId="165"/>
          <ac:spMkLst>
            <pc:docMk/>
            <pc:sldMk cId="1152167564" sldId="2147481080"/>
            <ac:spMk id="13" creationId="{B513B20F-455D-70D4-2942-12641EA2DF26}"/>
          </ac:spMkLst>
        </pc:spChg>
        <pc:spChg chg="mod topLvl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17" creationId="{06E7CD44-4888-5402-885D-9264975E4FA3}"/>
          </ac:spMkLst>
        </pc:spChg>
        <pc:spChg chg="mod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23" creationId="{648A7E4E-95AA-DF8E-615C-6A509FA32747}"/>
          </ac:spMkLst>
        </pc:spChg>
        <pc:spChg chg="mod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24" creationId="{02CC05AA-3A8C-D5E8-AC2B-64D54102407A}"/>
          </ac:spMkLst>
        </pc:spChg>
        <pc:spChg chg="mod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26" creationId="{040F3442-9754-A662-599B-093A41353C5C}"/>
          </ac:spMkLst>
        </pc:spChg>
        <pc:spChg chg="mod">
          <ac:chgData name="Raffaella Ciarlo" userId="1a723005-304b-4d40-b4e9-f6d05379be60" providerId="ADAL" clId="{81A9D9C1-017F-43C6-A378-BC6369963383}" dt="2026-01-23T16:36:44.251" v="66" actId="34135"/>
          <ac:spMkLst>
            <pc:docMk/>
            <pc:sldMk cId="1152167564" sldId="2147481080"/>
            <ac:spMk id="27" creationId="{A5368571-D250-40A8-29BA-292AB7A2A275}"/>
          </ac:spMkLst>
        </pc:spChg>
        <pc:grpChg chg="add mod">
          <ac:chgData name="Raffaella Ciarlo" userId="1a723005-304b-4d40-b4e9-f6d05379be60" providerId="ADAL" clId="{81A9D9C1-017F-43C6-A378-BC6369963383}" dt="2026-01-23T16:29:44.523" v="45" actId="164"/>
          <ac:grpSpMkLst>
            <pc:docMk/>
            <pc:sldMk cId="1152167564" sldId="2147481080"/>
            <ac:grpSpMk id="2" creationId="{30A560E2-A83A-9293-8160-2DE94AF35777}"/>
          </ac:grpSpMkLst>
        </pc:grpChg>
        <pc:grpChg chg="mod">
          <ac:chgData name="Raffaella Ciarlo" userId="1a723005-304b-4d40-b4e9-f6d05379be60" providerId="ADAL" clId="{81A9D9C1-017F-43C6-A378-BC6369963383}" dt="2026-01-23T16:29:44.523" v="45" actId="164"/>
          <ac:grpSpMkLst>
            <pc:docMk/>
            <pc:sldMk cId="1152167564" sldId="2147481080"/>
            <ac:grpSpMk id="28" creationId="{8DBB8651-87A6-F97B-415B-55137A9F42F1}"/>
          </ac:grpSpMkLst>
        </pc:grpChg>
        <pc:grpChg chg="mod">
          <ac:chgData name="Raffaella Ciarlo" userId="1a723005-304b-4d40-b4e9-f6d05379be60" providerId="ADAL" clId="{81A9D9C1-017F-43C6-A378-BC6369963383}" dt="2026-01-23T16:29:44.523" v="45" actId="164"/>
          <ac:grpSpMkLst>
            <pc:docMk/>
            <pc:sldMk cId="1152167564" sldId="2147481080"/>
            <ac:grpSpMk id="30" creationId="{39448D52-970E-3F6F-938E-151D4B8FEC6A}"/>
          </ac:grpSpMkLst>
        </pc:grpChg>
        <pc:picChg chg="mod">
          <ac:chgData name="Raffaella Ciarlo" userId="1a723005-304b-4d40-b4e9-f6d05379be60" providerId="ADAL" clId="{81A9D9C1-017F-43C6-A378-BC6369963383}" dt="2026-01-23T16:29:44.523" v="45" actId="164"/>
          <ac:picMkLst>
            <pc:docMk/>
            <pc:sldMk cId="1152167564" sldId="2147481080"/>
            <ac:picMk id="3" creationId="{A1D8FE57-DE4D-6D29-AE93-BD42B5B59352}"/>
          </ac:picMkLst>
        </pc:picChg>
        <pc:picChg chg="mod">
          <ac:chgData name="Raffaella Ciarlo" userId="1a723005-304b-4d40-b4e9-f6d05379be60" providerId="ADAL" clId="{81A9D9C1-017F-43C6-A378-BC6369963383}" dt="2026-01-23T16:29:44.523" v="45" actId="164"/>
          <ac:picMkLst>
            <pc:docMk/>
            <pc:sldMk cId="1152167564" sldId="2147481080"/>
            <ac:picMk id="8" creationId="{8BE5331B-F7D6-72CF-35B3-1DE6D942BDD2}"/>
          </ac:picMkLst>
        </pc:picChg>
      </pc:sldChg>
      <pc:sldChg chg="modSp mod">
        <pc:chgData name="Raffaella Ciarlo" userId="1a723005-304b-4d40-b4e9-f6d05379be60" providerId="ADAL" clId="{81A9D9C1-017F-43C6-A378-BC6369963383}" dt="2026-01-23T16:30:42.222" v="56" actId="34135"/>
        <pc:sldMkLst>
          <pc:docMk/>
          <pc:sldMk cId="1533430508" sldId="2147481081"/>
        </pc:sldMkLst>
        <pc:spChg chg="mod">
          <ac:chgData name="Raffaella Ciarlo" userId="1a723005-304b-4d40-b4e9-f6d05379be60" providerId="ADAL" clId="{81A9D9C1-017F-43C6-A378-BC6369963383}" dt="2026-01-23T16:30:42.222" v="56" actId="34135"/>
          <ac:spMkLst>
            <pc:docMk/>
            <pc:sldMk cId="1533430508" sldId="2147481081"/>
            <ac:spMk id="3" creationId="{2A2A46D8-FC62-4A51-CCA2-E47B1F0C5A68}"/>
          </ac:spMkLst>
        </pc:spChg>
        <pc:spChg chg="mod">
          <ac:chgData name="Raffaella Ciarlo" userId="1a723005-304b-4d40-b4e9-f6d05379be60" providerId="ADAL" clId="{81A9D9C1-017F-43C6-A378-BC6369963383}" dt="2026-01-23T16:30:42.222" v="56" actId="34135"/>
          <ac:spMkLst>
            <pc:docMk/>
            <pc:sldMk cId="1533430508" sldId="2147481081"/>
            <ac:spMk id="9" creationId="{17650F4E-A536-905B-D90E-D25B48AC659F}"/>
          </ac:spMkLst>
        </pc:spChg>
        <pc:spChg chg="mod">
          <ac:chgData name="Raffaella Ciarlo" userId="1a723005-304b-4d40-b4e9-f6d05379be60" providerId="ADAL" clId="{81A9D9C1-017F-43C6-A378-BC6369963383}" dt="2026-01-23T16:30:42.222" v="56" actId="34135"/>
          <ac:spMkLst>
            <pc:docMk/>
            <pc:sldMk cId="1533430508" sldId="2147481081"/>
            <ac:spMk id="18" creationId="{7E00386E-421A-FD3A-9B66-C53A6973A1B0}"/>
          </ac:spMkLst>
        </pc:spChg>
        <pc:picChg chg="mod">
          <ac:chgData name="Raffaella Ciarlo" userId="1a723005-304b-4d40-b4e9-f6d05379be60" providerId="ADAL" clId="{81A9D9C1-017F-43C6-A378-BC6369963383}" dt="2026-01-23T16:30:42.222" v="56" actId="34135"/>
          <ac:picMkLst>
            <pc:docMk/>
            <pc:sldMk cId="1533430508" sldId="2147481081"/>
            <ac:picMk id="2" creationId="{EC01ACC4-BEBA-55FF-460E-16DCC03C30FD}"/>
          </ac:picMkLst>
        </pc:picChg>
        <pc:picChg chg="mod">
          <ac:chgData name="Raffaella Ciarlo" userId="1a723005-304b-4d40-b4e9-f6d05379be60" providerId="ADAL" clId="{81A9D9C1-017F-43C6-A378-BC6369963383}" dt="2026-01-23T16:30:42.222" v="56" actId="34135"/>
          <ac:picMkLst>
            <pc:docMk/>
            <pc:sldMk cId="1533430508" sldId="2147481081"/>
            <ac:picMk id="8" creationId="{C51D1637-7BE6-CFE1-248D-CCBA52450A5D}"/>
          </ac:picMkLst>
        </pc:picChg>
        <pc:picChg chg="mod">
          <ac:chgData name="Raffaella Ciarlo" userId="1a723005-304b-4d40-b4e9-f6d05379be60" providerId="ADAL" clId="{81A9D9C1-017F-43C6-A378-BC6369963383}" dt="2026-01-23T16:30:42.222" v="56" actId="34135"/>
          <ac:picMkLst>
            <pc:docMk/>
            <pc:sldMk cId="1533430508" sldId="2147481081"/>
            <ac:picMk id="11" creationId="{36672A21-23C4-FE2F-382B-3A50935AAE82}"/>
          </ac:picMkLst>
        </pc:picChg>
        <pc:picChg chg="mod">
          <ac:chgData name="Raffaella Ciarlo" userId="1a723005-304b-4d40-b4e9-f6d05379be60" providerId="ADAL" clId="{81A9D9C1-017F-43C6-A378-BC6369963383}" dt="2026-01-23T16:30:42.222" v="56" actId="34135"/>
          <ac:picMkLst>
            <pc:docMk/>
            <pc:sldMk cId="1533430508" sldId="2147481081"/>
            <ac:picMk id="13" creationId="{4E2FF485-EAC9-6DFA-EE39-D0AA39AF8796}"/>
          </ac:picMkLst>
        </pc:picChg>
      </pc:sldChg>
    </pc:docChg>
  </pc:docChgLst>
  <pc:docChgLst>
    <pc:chgData name="Raffaella Ciarlo" userId="S::raffaella.ciarlo@wienerberger.com::1a723005-304b-4d40-b4e9-f6d05379be60" providerId="AD" clId="Web-{4D073F3F-DB01-C40A-3B00-1D1356DC2442}"/>
    <pc:docChg chg="modSld">
      <pc:chgData name="Raffaella Ciarlo" userId="S::raffaella.ciarlo@wienerberger.com::1a723005-304b-4d40-b4e9-f6d05379be60" providerId="AD" clId="Web-{4D073F3F-DB01-C40A-3B00-1D1356DC2442}" dt="2026-01-23T16:01:58.016" v="27" actId="20577"/>
      <pc:docMkLst>
        <pc:docMk/>
      </pc:docMkLst>
      <pc:sldChg chg="modSp">
        <pc:chgData name="Raffaella Ciarlo" userId="S::raffaella.ciarlo@wienerberger.com::1a723005-304b-4d40-b4e9-f6d05379be60" providerId="AD" clId="Web-{4D073F3F-DB01-C40A-3B00-1D1356DC2442}" dt="2026-01-23T16:01:58.016" v="27" actId="20577"/>
        <pc:sldMkLst>
          <pc:docMk/>
          <pc:sldMk cId="1152167564" sldId="2147481080"/>
        </pc:sldMkLst>
        <pc:spChg chg="mod">
          <ac:chgData name="Raffaella Ciarlo" userId="S::raffaella.ciarlo@wienerberger.com::1a723005-304b-4d40-b4e9-f6d05379be60" providerId="AD" clId="Web-{4D073F3F-DB01-C40A-3B00-1D1356DC2442}" dt="2026-01-23T16:01:58.016" v="27" actId="20577"/>
          <ac:spMkLst>
            <pc:docMk/>
            <pc:sldMk cId="1152167564" sldId="2147481080"/>
            <ac:spMk id="4" creationId="{47F48666-D3B9-C7D3-9047-487AB6CA423E}"/>
          </ac:spMkLst>
        </pc:spChg>
      </pc:sldChg>
    </pc:docChg>
  </pc:docChgLst>
  <pc:docChgLst>
    <pc:chgData clId="Web-{F55B9BB3-368E-875B-A74E-F4ADC9D7767A}"/>
    <pc:docChg chg="modSld">
      <pc:chgData name="" userId="" providerId="" clId="Web-{F55B9BB3-368E-875B-A74E-F4ADC9D7767A}" dt="2026-01-23T15:58:39.418" v="0"/>
      <pc:docMkLst>
        <pc:docMk/>
      </pc:docMkLst>
      <pc:sldChg chg="delSp">
        <pc:chgData name="" userId="" providerId="" clId="Web-{F55B9BB3-368E-875B-A74E-F4ADC9D7767A}" dt="2026-01-23T15:58:39.418" v="0"/>
        <pc:sldMkLst>
          <pc:docMk/>
          <pc:sldMk cId="1152167564" sldId="2147481080"/>
        </pc:sldMkLst>
        <pc:picChg chg="del">
          <ac:chgData name="" userId="" providerId="" clId="Web-{F55B9BB3-368E-875B-A74E-F4ADC9D7767A}" dt="2026-01-23T15:58:39.418" v="0"/>
          <ac:picMkLst>
            <pc:docMk/>
            <pc:sldMk cId="1152167564" sldId="2147481080"/>
            <ac:picMk id="9" creationId="{2743B63D-CAA2-54B8-B1BF-D3893727CDE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heme" Target="../theme/theme3.xml"/><Relationship Id="rId5" Type="http://schemas.openxmlformats.org/officeDocument/2006/relationships/tags" Target="../tags/tag180.xml"/><Relationship Id="rId4" Type="http://schemas.openxmlformats.org/officeDocument/2006/relationships/tags" Target="../tags/tag17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447B529-C8EE-CB43-B526-ED3F02CB6AE4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82F1A2F-6F4B-E840-9299-8013EE61C2EA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28F64-2329-1147-A9B1-D059A04C4F26}" type="datetimeFigureOut">
              <a:rPr lang="de-AT" smtClean="0"/>
              <a:t>23.01.2026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1CF0E8-63B8-3C4D-89B0-CEC59D6F821B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54FFFC-2CCB-3E45-9098-10D732B798DC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AB71D6-D870-174F-8195-7AC2804294A2}" type="slidenum">
              <a:rPr lang="de-AT" smtClean="0"/>
              <a:t>‹N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322727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heme" Target="../theme/theme2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ns Regular" panose="020B0606030504020204" pitchFamily="34" charset="0"/>
              </a:defRPr>
            </a:lvl1pPr>
          </a:lstStyle>
          <a:p>
            <a:fld id="{D37FCFF5-5717-9A4F-BCEE-CE6113257054}" type="datetimeFigureOut">
              <a:rPr lang="de-AT" smtClean="0"/>
              <a:pPr/>
              <a:t>23.01.2026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ns Regular" panose="020B0606030504020204" pitchFamily="34" charset="0"/>
              </a:defRPr>
            </a:lvl1pPr>
          </a:lstStyle>
          <a:p>
            <a:fld id="{32AB1C79-4277-1041-9CAB-8B21B9A1809D}" type="slidenum">
              <a:rPr lang="de-AT" smtClean="0"/>
              <a:pPr/>
              <a:t>‹N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02898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1pPr>
    <a:lvl2pPr marL="342892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2pPr>
    <a:lvl3pPr marL="685783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3pPr>
    <a:lvl4pPr marL="1028675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4pPr>
    <a:lvl5pPr marL="1371566" algn="l" defTabSz="685783" rtl="0" eaLnBrk="1" latinLnBrk="0" hangingPunct="1">
      <a:defRPr sz="900" b="0" i="0" kern="1200">
        <a:solidFill>
          <a:schemeClr val="tx1"/>
        </a:solidFill>
        <a:latin typeface="Open Sans Regular" panose="020B0606030504020204" pitchFamily="34" charset="0"/>
        <a:ea typeface="+mn-ea"/>
        <a:cs typeface="+mn-cs"/>
      </a:defRPr>
    </a:lvl5pPr>
    <a:lvl6pPr marL="1714457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211418-31E6-5FA1-FCCD-167D0E589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ABFDE653-975F-A99B-B703-CB050815FA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A06DDF3-B628-FA3B-9807-4B988F60A1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A83F67B-9F08-563F-54F2-727B24DD07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629041-5004-4DE3-91F1-48B808196D8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485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5.emf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8.xml"/><Relationship Id="rId7" Type="http://schemas.openxmlformats.org/officeDocument/2006/relationships/image" Target="../media/image4.emf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2.xml"/><Relationship Id="rId7" Type="http://schemas.openxmlformats.org/officeDocument/2006/relationships/image" Target="../media/image3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emf"/><Relationship Id="rId5" Type="http://schemas.openxmlformats.org/officeDocument/2006/relationships/tags" Target="../tags/tag84.xml"/><Relationship Id="rId10" Type="http://schemas.openxmlformats.org/officeDocument/2006/relationships/image" Target="../media/image6.emf"/><Relationship Id="rId4" Type="http://schemas.openxmlformats.org/officeDocument/2006/relationships/tags" Target="../tags/tag83.xml"/><Relationship Id="rId9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8.e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8.emf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9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8.emf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image" Target="../media/image8.emf"/><Relationship Id="rId4" Type="http://schemas.openxmlformats.org/officeDocument/2006/relationships/tags" Target="../tags/tag110.xml"/><Relationship Id="rId9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43.xml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image" Target="../media/image12.emf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image" Target="../media/image11.emf"/><Relationship Id="rId2" Type="http://schemas.openxmlformats.org/officeDocument/2006/relationships/tags" Target="../tags/tag155.xml"/><Relationship Id="rId16" Type="http://schemas.openxmlformats.org/officeDocument/2006/relationships/image" Target="../media/image10.emf"/><Relationship Id="rId20" Type="http://schemas.openxmlformats.org/officeDocument/2006/relationships/image" Target="../media/image14.emf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image" Target="../media/image9.emf"/><Relationship Id="rId10" Type="http://schemas.openxmlformats.org/officeDocument/2006/relationships/tags" Target="../tags/tag163.xml"/><Relationship Id="rId19" Type="http://schemas.openxmlformats.org/officeDocument/2006/relationships/image" Target="../media/image13.emf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over 1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89EA6D5C-057F-039B-6AD0-EB2900018819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ltGray">
          <a:xfrm>
            <a:off x="0" y="1"/>
            <a:ext cx="9144000" cy="4659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/>
          <a:lstStyle>
            <a:lvl1pPr marL="0" indent="0">
              <a:buFontTx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5" name="Textplatzhalter 20">
            <a:extLst>
              <a:ext uri="{FF2B5EF4-FFF2-40B4-BE49-F238E27FC236}">
                <a16:creationId xmlns:a16="http://schemas.microsoft.com/office/drawing/2014/main" id="{D9857394-194E-838B-5C64-F5EB26A12A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-802986" y="3580824"/>
            <a:ext cx="1821876" cy="215899"/>
          </a:xfrm>
        </p:spPr>
        <p:txBody>
          <a:bodyPr wrap="none" lIns="72000" tIns="72000" rIns="72000" bIns="72000" anchor="ctr" anchorCtr="0">
            <a:noAutofit/>
          </a:bodyPr>
          <a:lstStyle>
            <a:lvl1pPr marL="0" indent="0">
              <a:buNone/>
              <a:defRPr lang="de-AT" sz="700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de-DE" noProof="0"/>
              <a:t>Mastertextformat bearbeit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841E538-6E38-9907-CC73-D65F069F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088" y="2479964"/>
            <a:ext cx="8029575" cy="505690"/>
          </a:xfrm>
          <a:prstGeom prst="rect">
            <a:avLst/>
          </a:prstGeom>
          <a:effectLst>
            <a:outerShdw blurRad="63500" algn="ctr" rotWithShape="0">
              <a:prstClr val="black">
                <a:alpha val="60000"/>
              </a:prstClr>
            </a:outerShdw>
          </a:effectLst>
        </p:spPr>
        <p:txBody>
          <a:bodyPr wrap="square" bIns="0" anchor="b" anchorCtr="0">
            <a:noAutofit/>
          </a:bodyPr>
          <a:lstStyle>
            <a:lvl1pPr algn="l">
              <a:lnSpc>
                <a:spcPts val="3400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ED7AAFA-D6DD-8BA2-1645-094CCBB653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086" y="3071350"/>
            <a:ext cx="8316913" cy="193643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ts val="1640"/>
              </a:lnSpc>
              <a:spcBef>
                <a:spcPts val="0"/>
              </a:spcBef>
              <a:buNone/>
              <a:defRPr sz="1200" b="1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pic>
        <p:nvPicPr>
          <p:cNvPr id="6" name="Grafik 5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A046BEE4-4BE4-5E06-D03E-B39B38CF4A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96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2/3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5976938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9DAF00E2-0A08-0468-E8D9-329DE338928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59769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6EDE792-4C72-7128-9CB7-DA362888161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52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0DD76DF-4E63-9FDA-9984-5DF6A638C8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67063" y="1728000"/>
            <a:ext cx="252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9326AC2C-D546-207E-8A3C-02AA4D283118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84888" y="1203325"/>
            <a:ext cx="3059111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4F26EE33-67D1-41F9-04DE-7F39C518DDBE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491325"/>
            <a:ext cx="3059625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0F13EC77-E58A-2F6C-4815-96313769D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1C825930-E0D5-7659-CC40-5987CC75BA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52364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2/3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5976938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14A161FA-C0CC-36DD-81E9-237C50139B3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8"/>
            <a:ext cx="252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357020A-6ADE-EDD5-A2BD-BCB05491F08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173836" y="1439999"/>
            <a:ext cx="252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50A01E53-801E-EF14-647E-E2841859A9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203325"/>
            <a:ext cx="3059625" cy="3455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3" name="Titel 11">
            <a:extLst>
              <a:ext uri="{FF2B5EF4-FFF2-40B4-BE49-F238E27FC236}">
                <a16:creationId xmlns:a16="http://schemas.microsoft.com/office/drawing/2014/main" id="{E5A2AC2A-51E2-D9FB-74BB-EF96EC42D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0DB6649-3347-1CFB-31AB-59CB15CE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286709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4516438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3F2CEAA-3A1D-E64F-9B5D-8D3CD6CD8EB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7564" y="1491326"/>
            <a:ext cx="4516435" cy="3167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51395DB5-2776-D915-7549-A4A635A7CC2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0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45393C60-64BF-06A4-86C7-DFAC00C665D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3960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107AF019-5CDE-057A-1E50-27159C4F61A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4627561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45CFC7D2-B51F-1B3A-330A-B1B62E6F9D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938B3443-260B-64EC-C359-2B66E2AD70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9700275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4516438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3F2CEAA-3A1D-E64F-9B5D-8D3CD6CD8EB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7564" y="1203326"/>
            <a:ext cx="4516435" cy="3455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94CE464-2B6F-FD13-B5EE-89F6DE454CB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6" y="1439999"/>
            <a:ext cx="3960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151ED8B3-3EC0-25D8-AD0D-33E394C9D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6A26CA00-2F59-088E-5E41-A4939D5601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08177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0BB035E-0205-A942-17F1-29FA181F254B}"/>
              </a:ext>
            </a:extLst>
          </p:cNvPr>
          <p:cNvSpPr/>
          <p:nvPr userDrawn="1"/>
        </p:nvSpPr>
        <p:spPr>
          <a:xfrm>
            <a:off x="4625975" y="1203325"/>
            <a:ext cx="4518025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7CC1FF0B-EDF0-BED2-885C-FCB51D162FB0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0" y="1203325"/>
            <a:ext cx="4516438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B65D3D-EE6D-F0E1-5E6C-0BE73FC9B3E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410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E04B3DB-5EE0-1C1D-226C-B7068A377FC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752664" y="1728000"/>
            <a:ext cx="410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CF056C32-7A84-A9D4-89D0-BC849FAA2EAC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4625975" y="1203325"/>
            <a:ext cx="4518024" cy="288000"/>
          </a:xfrm>
          <a:solidFill>
            <a:schemeClr val="tx2"/>
          </a:solidFill>
        </p:spPr>
        <p:txBody>
          <a:bodyPr lIns="180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92A49B6E-A094-406B-8A7B-439ACD71CA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AB3A3B4-3B47-F649-7989-9CCBB1B9B6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062082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6547B6F-45E7-79CD-FBC5-7EA75A4E490F}"/>
              </a:ext>
            </a:extLst>
          </p:cNvPr>
          <p:cNvSpPr/>
          <p:nvPr userDrawn="1"/>
        </p:nvSpPr>
        <p:spPr>
          <a:xfrm>
            <a:off x="4625975" y="1203325"/>
            <a:ext cx="4516438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D962CC3-BE77-86C8-B756-81A564147EF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4104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ED767DC-C5BF-6EAE-0A76-DB391F0EEC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752664" y="1440000"/>
            <a:ext cx="4104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4AA45BB9-F719-DFDD-01BB-00DF14D1B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8D95371-113D-EB43-7492-63DC29D2F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3409834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2 - bg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21C91AF-2BD0-3B42-9216-CE44E7AB59B9}"/>
              </a:ext>
            </a:extLst>
          </p:cNvPr>
          <p:cNvSpPr/>
          <p:nvPr userDrawn="1"/>
        </p:nvSpPr>
        <p:spPr>
          <a:xfrm>
            <a:off x="4627564" y="1203325"/>
            <a:ext cx="4516436" cy="3455988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203325"/>
            <a:ext cx="4516438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D962CC3-BE77-86C8-B756-81A564147EF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3960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ED767DC-C5BF-6EAE-0A76-DB391F0EEC6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6662" y="1440000"/>
            <a:ext cx="3960000" cy="2988508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7D9EEDDF-BB63-7D24-1F54-6998B1BC1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855A2854-594B-B528-077E-6A0ABB91F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2005430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1 p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65D58F74-D9D1-A3F9-C203-F843D4AF4974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A1D24E0-3E97-48A1-B607-EF2AB12415AB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3167063" y="1491325"/>
            <a:ext cx="5976937" cy="31679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EFF160-62EF-8734-F55D-03791E1C4347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9686BD9-A609-6FAE-1081-8596681A24D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04F8934-0E14-886C-7C41-2610D9D674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36DE5539-0B1F-7BF5-E600-B32BA4EBC09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3059113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F01C9181-1360-20B5-E376-F4097B2747D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48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3807DF96-15FB-F09E-A5EC-A502E4CFF5C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167063" y="1203325"/>
            <a:ext cx="5976936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7BC3BDB0-ED17-E746-1677-A3D429A3A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70E208B4-317D-6D8A-675F-4469F4ECF6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612287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65D58F74-D9D1-A3F9-C203-F843D4AF4974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A1D24E0-3E97-48A1-B607-EF2AB12415AB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3167063" y="1199033"/>
            <a:ext cx="5976937" cy="34602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EFF160-62EF-8734-F55D-03791E1C4347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9686BD9-A609-6FAE-1081-8596681A24D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04F8934-0E14-886C-7C41-2610D9D674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2300D589-CD16-7D76-014B-E73850E6B85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9"/>
            <a:ext cx="2484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B915F0A6-2899-B4AB-B641-9AF12FBA3A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1D01E259-B896-7959-2206-7B7483D9AD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83961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2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66E0610A-D183-8716-7C17-1A8CD77AD65B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491325"/>
            <a:ext cx="3059625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417D7EE3-09A0-5D4A-D9EE-23CF1271C6AC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2"/>
            </p:custDataLst>
          </p:nvPr>
        </p:nvSpPr>
        <p:spPr>
          <a:xfrm>
            <a:off x="3166550" y="1491325"/>
            <a:ext cx="2810388" cy="3167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1BCCB72F-C1BB-78C9-9107-B24476CB54C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3059113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5F36F81B-9624-E545-4C8A-E8F2A24623A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728000"/>
            <a:ext cx="2484000" cy="2664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3B301552-A78C-E04E-A9CF-2E25A9EED99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167063" y="1203325"/>
            <a:ext cx="5976936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C5679021-E1C2-1CA6-1079-D757B26786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080CBCAF-A3FD-C191-4B12-3B1B9C418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151174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203325"/>
            <a:ext cx="8569326" cy="345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C00536A-C7F3-7C45-05FF-B0675E4E0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07105400-BAD2-9762-82ED-323FEABB76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578199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-text 1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EC1F856-BAF4-EA3A-92AF-9A5D97CE633E}"/>
              </a:ext>
            </a:extLst>
          </p:cNvPr>
          <p:cNvSpPr/>
          <p:nvPr userDrawn="1"/>
        </p:nvSpPr>
        <p:spPr>
          <a:xfrm>
            <a:off x="0" y="1199034"/>
            <a:ext cx="3059113" cy="3460279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3D07114B-13C8-857C-A6A2-CB2B543FE982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DC3DA6-717E-7604-659C-65F660D08335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6FA76D0-FECE-D5FD-EA93-3D8C94FFD641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66E0610A-D183-8716-7C17-1A8CD77AD65B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375" y="1198800"/>
            <a:ext cx="3059625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417D7EE3-09A0-5D4A-D9EE-23CF1271C6AC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2"/>
            </p:custDataLst>
          </p:nvPr>
        </p:nvSpPr>
        <p:spPr>
          <a:xfrm>
            <a:off x="3166550" y="1198800"/>
            <a:ext cx="2810388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7F007ED-22AE-DB83-FB66-E9D072380C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439999"/>
            <a:ext cx="2484000" cy="2988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201D443F-4B3C-8FF1-2501-A7DCD67225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3EDEC709-0F04-20E2-B774-4B068482E9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9940577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2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A95AD8B-D718-5934-DE01-878FA5862811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6FE8E4C6-30D3-9646-88A2-8232F05F0886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4625974" y="1491324"/>
            <a:ext cx="4230689" cy="1404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59AFFF7D-D03E-AF47-8F9B-41301CC034D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87336" y="1491325"/>
            <a:ext cx="4229102" cy="1404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19A4CBA-434C-4284-8BDA-A742CDF8853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3"/>
            </p:custDataLst>
          </p:nvPr>
        </p:nvSpPr>
        <p:spPr/>
        <p:txBody>
          <a:bodyPr/>
          <a:lstStyle/>
          <a:p>
            <a:fld id="{10664054-A2C2-47B7-B32D-83AB9DE85A97}" type="datetime1">
              <a:rPr lang="en-US" noProof="0" smtClean="0"/>
              <a:t>1/23/2026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D613A5-7B76-4863-B497-DEA46680A470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4"/>
            </p:custDataLst>
          </p:nvPr>
        </p:nvSpPr>
        <p:spPr>
          <a:xfrm>
            <a:off x="2419350" y="4812089"/>
            <a:ext cx="4305300" cy="151101"/>
          </a:xfrm>
          <a:prstGeom prst="rect">
            <a:avLst/>
          </a:prstGeom>
        </p:spPr>
        <p:txBody>
          <a:bodyPr/>
          <a:lstStyle>
            <a:lvl1pPr>
              <a:defRPr lang="de-AT" dirty="0"/>
            </a:lvl1pPr>
          </a:lstStyle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00E58AB-8687-4EDF-B039-736DE419CA2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5"/>
            </p:custDataLst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293CACAF-9D57-5C77-D0FF-B346C1DAF5C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44C3297-8C00-0A10-2ED4-225A7501090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644250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B0F3D51-540D-3BB7-1027-BDEBCA9DC61A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42291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54FA7A8-CC6B-E7F0-1157-F3C7CE049BEE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4624383" y="1203325"/>
            <a:ext cx="4232279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A3F5C60D-24B1-662F-46A1-E572A3C84759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6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3DBA7810-AC23-302B-9C4A-2309391F35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DA797397-67F3-D7B2-7EE8-CC7C3AE7FF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1851442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A95AD8B-D718-5934-DE01-878FA5862811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19A4CBA-434C-4284-8BDA-A742CDF8853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10664054-A2C2-47B7-B32D-83AB9DE85A97}" type="datetime1">
              <a:rPr lang="en-US" noProof="0" smtClean="0"/>
              <a:t>1/23/2026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D613A5-7B76-4863-B497-DEA46680A470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>
          <a:xfrm>
            <a:off x="2419350" y="4812089"/>
            <a:ext cx="4305300" cy="151101"/>
          </a:xfrm>
          <a:prstGeom prst="rect">
            <a:avLst/>
          </a:prstGeom>
        </p:spPr>
        <p:txBody>
          <a:bodyPr/>
          <a:lstStyle>
            <a:lvl1pPr>
              <a:defRPr lang="de-AT" dirty="0"/>
            </a:lvl1pPr>
          </a:lstStyle>
          <a:p>
            <a:endParaRPr lang="en-US" noProof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00E58AB-8687-4EDF-B039-736DE419CA2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293CACAF-9D57-5C77-D0FF-B346C1DAF5C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44C3297-8C00-0A10-2ED4-225A7501090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644250" y="3060001"/>
            <a:ext cx="403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" name="Inhaltsplatzhalter 14">
            <a:extLst>
              <a:ext uri="{FF2B5EF4-FFF2-40B4-BE49-F238E27FC236}">
                <a16:creationId xmlns:a16="http://schemas.microsoft.com/office/drawing/2014/main" id="{FC117AC4-6744-13D5-D2B3-0ACD0E8CCD7B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8" y="1203324"/>
            <a:ext cx="4229099" cy="1692275"/>
          </a:xfrm>
        </p:spPr>
        <p:txBody>
          <a:bodyPr/>
          <a:lstStyle/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Inhaltsplatzhalter 14">
            <a:extLst>
              <a:ext uri="{FF2B5EF4-FFF2-40B4-BE49-F238E27FC236}">
                <a16:creationId xmlns:a16="http://schemas.microsoft.com/office/drawing/2014/main" id="{38AC2159-FD23-2C28-1EAD-8141743E5997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4644250" y="1203324"/>
            <a:ext cx="4229099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4CF46C5-CF13-716D-4F16-2F29A8743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32A7349-1C13-EFAE-52CB-2232422D2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555517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3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65DECE2-7EF6-1D9B-758D-8B6CFF8FE7D5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6CF9712-3672-1E0A-880C-8ED0A402B0A1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859A7BEE-0A31-8B43-ACF6-7653EB8E71E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6C1EE91-F345-EE5E-462D-88072698FBD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96092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A8B8F0F9-0D4F-F1C8-A10B-D9CEF48138F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8E135B50-9447-556F-5532-CB29D5AF03DE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2"/>
            </p:custDataLst>
          </p:nvPr>
        </p:nvSpPr>
        <p:spPr>
          <a:xfrm>
            <a:off x="3196090" y="1491325"/>
            <a:ext cx="2761200" cy="14042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93890B78-D2BB-86BD-30B2-BFC302881B59}"/>
              </a:ext>
            </a:extLst>
          </p:cNvPr>
          <p:cNvSpPr>
            <a:spLocks noGrp="1"/>
          </p:cNvSpPr>
          <p:nvPr>
            <p:ph type="pic" sz="quarter" idx="25" hasCustomPrompt="1"/>
            <p:custDataLst>
              <p:tags r:id="rId3"/>
            </p:custDataLst>
          </p:nvPr>
        </p:nvSpPr>
        <p:spPr>
          <a:xfrm>
            <a:off x="6096000" y="1490400"/>
            <a:ext cx="2760662" cy="14042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A09F85D8-009E-87F6-892B-3C6E580008C6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491325"/>
            <a:ext cx="2760663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93FF3B0-66CE-DD37-EC65-65105F1CBBF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A496DDE3-D30A-8219-5633-79290B07CCD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96091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D59928A0-E88E-668B-4A8D-FDF3435F9515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itel 11">
            <a:extLst>
              <a:ext uri="{FF2B5EF4-FFF2-40B4-BE49-F238E27FC236}">
                <a16:creationId xmlns:a16="http://schemas.microsoft.com/office/drawing/2014/main" id="{4025921E-D896-36DB-1869-83D2051E7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9B41C72B-E9BE-1D5F-DD76-1E1D74093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0754108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65DECE2-7EF6-1D9B-758D-8B6CFF8FE7D5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6CF9712-3672-1E0A-880C-8ED0A402B0A1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2CD9D71E-57C6-BC0F-7B1A-6C2BDD01E9F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7E981E7A-3085-4CE9-F518-86C6BDB59BB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96091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0F56BE2D-C830-6D63-44DB-3855F570B2C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3060001"/>
            <a:ext cx="259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Inhaltsplatzhalter 14">
            <a:extLst>
              <a:ext uri="{FF2B5EF4-FFF2-40B4-BE49-F238E27FC236}">
                <a16:creationId xmlns:a16="http://schemas.microsoft.com/office/drawing/2014/main" id="{F3E7C646-723E-83D0-1F6E-83B40E5E3E4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9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  <a:p>
            <a:pPr lvl="0"/>
            <a:endParaRPr lang="en-US" noProof="0"/>
          </a:p>
        </p:txBody>
      </p:sp>
      <p:sp>
        <p:nvSpPr>
          <p:cNvPr id="18" name="Inhaltsplatzhalter 14">
            <a:extLst>
              <a:ext uri="{FF2B5EF4-FFF2-40B4-BE49-F238E27FC236}">
                <a16:creationId xmlns:a16="http://schemas.microsoft.com/office/drawing/2014/main" id="{3B793DEB-BF73-13C0-F2D6-35B644125E5B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3191669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19" name="Inhaltsplatzhalter 14">
            <a:extLst>
              <a:ext uri="{FF2B5EF4-FFF2-40B4-BE49-F238E27FC236}">
                <a16:creationId xmlns:a16="http://schemas.microsoft.com/office/drawing/2014/main" id="{584A44A6-0EFF-7A22-3E12-E5A798C4E8EC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6115050" y="1203325"/>
            <a:ext cx="2770042" cy="1689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511CCF8-F308-9891-65E5-D55077A01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77BE5D4-2CED-45FF-7AFC-89568CBF8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1369754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4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ED689C87-1C8F-DDC0-67E7-FB31266990A8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4" name="Bildplatzhalter 14">
            <a:extLst>
              <a:ext uri="{FF2B5EF4-FFF2-40B4-BE49-F238E27FC236}">
                <a16:creationId xmlns:a16="http://schemas.microsoft.com/office/drawing/2014/main" id="{28B3771B-BD48-D14A-B01E-6FC435377A71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1"/>
            </p:custDataLst>
          </p:nvPr>
        </p:nvSpPr>
        <p:spPr>
          <a:xfrm>
            <a:off x="287338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37" name="Bildplatzhalter 14">
            <a:extLst>
              <a:ext uri="{FF2B5EF4-FFF2-40B4-BE49-F238E27FC236}">
                <a16:creationId xmlns:a16="http://schemas.microsoft.com/office/drawing/2014/main" id="{13E9E11A-3FE5-403D-B470-815EF3F5302F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2"/>
            </p:custDataLst>
          </p:nvPr>
        </p:nvSpPr>
        <p:spPr>
          <a:xfrm>
            <a:off x="2470150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1" name="Bildplatzhalter 14">
            <a:extLst>
              <a:ext uri="{FF2B5EF4-FFF2-40B4-BE49-F238E27FC236}">
                <a16:creationId xmlns:a16="http://schemas.microsoft.com/office/drawing/2014/main" id="{501B6E30-B68F-4283-9E2A-A820A346785E}"/>
              </a:ext>
            </a:extLst>
          </p:cNvPr>
          <p:cNvSpPr>
            <a:spLocks noGrp="1"/>
          </p:cNvSpPr>
          <p:nvPr>
            <p:ph type="pic" sz="quarter" idx="49" hasCustomPrompt="1"/>
            <p:custDataLst>
              <p:tags r:id="rId3"/>
            </p:custDataLst>
          </p:nvPr>
        </p:nvSpPr>
        <p:spPr>
          <a:xfrm>
            <a:off x="4648766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45" name="Bildplatzhalter 14">
            <a:extLst>
              <a:ext uri="{FF2B5EF4-FFF2-40B4-BE49-F238E27FC236}">
                <a16:creationId xmlns:a16="http://schemas.microsoft.com/office/drawing/2014/main" id="{25358A25-F640-4F2E-8AF9-4EF756A2EB58}"/>
              </a:ext>
            </a:extLst>
          </p:cNvPr>
          <p:cNvSpPr>
            <a:spLocks noGrp="1"/>
          </p:cNvSpPr>
          <p:nvPr>
            <p:ph type="pic" sz="quarter" idx="53" hasCustomPrompt="1"/>
            <p:custDataLst>
              <p:tags r:id="rId4"/>
            </p:custDataLst>
          </p:nvPr>
        </p:nvSpPr>
        <p:spPr>
          <a:xfrm>
            <a:off x="6827383" y="1491325"/>
            <a:ext cx="2034000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09ECA20-05D0-B26E-A1C4-7B6F91F47A7A}"/>
              </a:ext>
            </a:extLst>
          </p:cNvPr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C2847E2-7DB5-5A97-C8AB-9FF59D0858DA}"/>
              </a:ext>
            </a:extLst>
          </p:cNvPr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462863-118D-05ED-F263-B97F525AB968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AC80185-3BEA-2638-48E7-FFE2594AD256}"/>
              </a:ext>
            </a:extLst>
          </p:cNvPr>
          <p:cNvSpPr>
            <a:spLocks noGrp="1"/>
          </p:cNvSpPr>
          <p:nvPr>
            <p:ph type="body" sz="quarter" idx="61" hasCustomPrompt="1"/>
            <p:custDataLst>
              <p:tags r:id="rId5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Quellenangabe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B3CDFF2-B488-0B9C-2C69-725CB4F765A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C9F4D035-FA9F-D4B7-2DB3-603973288C3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462892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CD711393-56C5-1553-D9FA-54C651AAFF4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627563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63748E3-13E6-B4C4-F169-E9F6E746F8C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07198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0D053AA0-E78E-D408-88DE-178DEF7767D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F80B05FF-8144-6D2E-A064-1A2E9C1E92A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24701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72CBF6C3-BF10-C623-B0BF-11B410A9033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4648766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9C1C6E2D-B422-AA6D-2CB6-461CA2B8A6A6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825796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6F0F6040-5672-3809-9559-7DA525B8A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342FA58-EF9F-60A1-9DD8-AA7DAAA1DC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2665988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4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BE675753-1D70-B680-B017-6BB666ED354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0CCB1081-E697-134A-13B4-B700F91ACE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462892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D1EC8A51-B17D-665D-507E-60654AD797C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627563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1F7CB1AD-41BC-153F-E2F0-9A462C77E41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07198" y="3060001"/>
            <a:ext cx="1872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6" name="Inhaltsplatzhalter 14">
            <a:extLst>
              <a:ext uri="{FF2B5EF4-FFF2-40B4-BE49-F238E27FC236}">
                <a16:creationId xmlns:a16="http://schemas.microsoft.com/office/drawing/2014/main" id="{2126A575-37FA-6F27-285D-19511896AC2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287338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7" name="Inhaltsplatzhalter 14">
            <a:extLst>
              <a:ext uri="{FF2B5EF4-FFF2-40B4-BE49-F238E27FC236}">
                <a16:creationId xmlns:a16="http://schemas.microsoft.com/office/drawing/2014/main" id="{DDF43996-9B15-4FFD-B5E4-E8943447D2B9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2462892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8" name="Inhaltsplatzhalter 14">
            <a:extLst>
              <a:ext uri="{FF2B5EF4-FFF2-40B4-BE49-F238E27FC236}">
                <a16:creationId xmlns:a16="http://schemas.microsoft.com/office/drawing/2014/main" id="{23C41FF9-BF40-EA56-28BD-8FC1A24195BE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4638446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9" name="Inhaltsplatzhalter 14">
            <a:extLst>
              <a:ext uri="{FF2B5EF4-FFF2-40B4-BE49-F238E27FC236}">
                <a16:creationId xmlns:a16="http://schemas.microsoft.com/office/drawing/2014/main" id="{076BD9F5-A23A-118F-90F4-EFAFF22A608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6818468" y="1203324"/>
            <a:ext cx="2038195" cy="1692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Content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5352FED-61A5-F451-DAE7-D4EBD1A56A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81983DB6-78CE-0020-9A2F-0FC4674303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110137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5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72E215C-9B90-8325-FF4D-F8533522A452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C96D884F-FB18-473F-9F99-95F0C6DE5715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CEB8FC9-903B-ACA5-B82D-63BD92856A6F}"/>
              </a:ext>
            </a:extLst>
          </p:cNvPr>
          <p:cNvSpPr>
            <a:spLocks noGrp="1"/>
          </p:cNvSpPr>
          <p:nvPr>
            <p:ph type="dt" sz="half" idx="62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E83D1F2-6EBE-AEFE-83AA-AFE4E9BC0873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4C82858-A851-F2EB-D4C8-DBF4E27DD584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E63B4035-F356-E34C-81D7-7E9EA696CA5C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2"/>
            </p:custDataLst>
          </p:nvPr>
        </p:nvSpPr>
        <p:spPr>
          <a:xfrm>
            <a:off x="28723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56FD5569-E27B-D2C4-EF4D-2BA554E2BA26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3"/>
            </p:custDataLst>
          </p:nvPr>
        </p:nvSpPr>
        <p:spPr>
          <a:xfrm>
            <a:off x="2026578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A99CEFC4-01DE-F81A-AB88-C2C27AA58742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4"/>
            </p:custDataLst>
          </p:nvPr>
        </p:nvSpPr>
        <p:spPr>
          <a:xfrm>
            <a:off x="376917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1E9E0E3C-8007-9F8B-EDC9-D79649A90C23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5"/>
            </p:custDataLst>
          </p:nvPr>
        </p:nvSpPr>
        <p:spPr>
          <a:xfrm>
            <a:off x="5511773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449B5AE2-AF90-0806-1EB4-EF5F94A627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7335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EDFAA52-2E77-5CB7-E489-A7B83BFB219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026577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A72C7519-7B30-10B1-B3D8-3B3278B8E7C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765819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7628DED-6862-89C1-F5A6-72EE674BC97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08416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3BA4C36A-C85F-6AE7-DB5E-433BFA37DF65}"/>
              </a:ext>
            </a:extLst>
          </p:cNvPr>
          <p:cNvSpPr>
            <a:spLocks noGrp="1"/>
          </p:cNvSpPr>
          <p:nvPr>
            <p:ph type="pic" sz="quarter" idx="69" hasCustomPrompt="1"/>
            <p:custDataLst>
              <p:tags r:id="rId6"/>
            </p:custDataLst>
          </p:nvPr>
        </p:nvSpPr>
        <p:spPr>
          <a:xfrm>
            <a:off x="7254369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5F2D317A-D881-FE52-68F5-C1CCE2C2C60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51012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8E49E85A-8506-47E7-C891-51E570BB5146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AABA3176-9D38-6D8D-B32F-84B8B4A132B1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2F30F3B-C0B4-F8B9-5948-321CA405D4D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8C3C8EFC-9980-E696-0FC2-53C28AFB59FB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2F2A03D5-9BF6-6A78-883C-5B4F18D6203D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55061F5B-173D-B039-3723-3C6CF30C8C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EB2DC61-02E2-C6C7-ECC3-754A449CFE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085458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5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-17145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BF52104B-FB23-A142-AC91-717A329A5B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87236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8A6E493-3605-3143-BCA2-3D9CB3DAE170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2"/>
            </p:custDataLst>
          </p:nvPr>
        </p:nvSpPr>
        <p:spPr>
          <a:xfrm>
            <a:off x="2026578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C0D4240-E65A-2B4B-8D9D-466534E0FCD9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3"/>
            </p:custDataLst>
          </p:nvPr>
        </p:nvSpPr>
        <p:spPr>
          <a:xfrm>
            <a:off x="3769176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8375E5B-9B53-344A-88CD-2A4B4F6E8535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4"/>
            </p:custDataLst>
          </p:nvPr>
        </p:nvSpPr>
        <p:spPr>
          <a:xfrm>
            <a:off x="5511773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4F38A308-67CD-59C3-0DAC-6DEB51D7215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5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34739CE4-470E-414C-F24C-6BA7C2CF8E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026577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2E4894B-99FD-C146-3E75-2A16F0F4873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765819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44932246-ABA9-D5C1-6D02-BE9CADC6826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508416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E6B9774-D3D8-AFF8-B534-7533198E27E9}"/>
              </a:ext>
            </a:extLst>
          </p:cNvPr>
          <p:cNvSpPr>
            <a:spLocks noGrp="1"/>
          </p:cNvSpPr>
          <p:nvPr>
            <p:ph type="pic" sz="quarter" idx="66" hasCustomPrompt="1"/>
            <p:custDataLst>
              <p:tags r:id="rId5"/>
            </p:custDataLst>
          </p:nvPr>
        </p:nvSpPr>
        <p:spPr>
          <a:xfrm>
            <a:off x="7254369" y="1203325"/>
            <a:ext cx="1602000" cy="169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B7CB74EB-8F38-E27A-EC09-819707173B2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51012" y="3060001"/>
            <a:ext cx="1475999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B3A6A403-576C-64FE-53A2-A63D85853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467A9FA3-3A43-662E-8CE7-AF54317142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628343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-pictures 8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7680887-10B7-52F2-BCA4-B2F74EE2B1D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BF52104B-FB23-A142-AC91-717A329A5B94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87236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78A6E493-3605-3143-BCA2-3D9CB3DAE170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2"/>
            </p:custDataLst>
          </p:nvPr>
        </p:nvSpPr>
        <p:spPr>
          <a:xfrm>
            <a:off x="2591303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C0D4240-E65A-2B4B-8D9D-466534E0FCD9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3"/>
            </p:custDataLst>
          </p:nvPr>
        </p:nvSpPr>
        <p:spPr>
          <a:xfrm>
            <a:off x="4895370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8375E5B-9B53-344A-88CD-2A4B4F6E8535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4"/>
            </p:custDataLst>
          </p:nvPr>
        </p:nvSpPr>
        <p:spPr>
          <a:xfrm>
            <a:off x="7199436" y="144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1F292A2A-4701-E140-AC7B-6015C856A765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2591369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F68539C-C1A9-AE4D-96E1-F1E00CD9D2E6}"/>
              </a:ext>
            </a:extLst>
          </p:cNvPr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4895402" y="2564053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6C45458-61B5-8040-805A-45517977084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7"/>
            </p:custDataLst>
          </p:nvPr>
        </p:nvSpPr>
        <p:spPr>
          <a:xfrm>
            <a:off x="7199436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E6A6EDA6-9B8C-834B-8B93-CFF5CC06E7E6}"/>
              </a:ext>
            </a:extLst>
          </p:cNvPr>
          <p:cNvSpPr>
            <a:spLocks noGrp="1"/>
          </p:cNvSpPr>
          <p:nvPr>
            <p:ph type="pic" sz="quarter" idx="26" hasCustomPrompt="1"/>
            <p:custDataLst>
              <p:tags r:id="rId8"/>
            </p:custDataLst>
          </p:nvPr>
        </p:nvSpPr>
        <p:spPr>
          <a:xfrm>
            <a:off x="287236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8A3DCAA-FE44-9841-BFF2-A40F00653831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287336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C192229C-AEF2-E74F-9E80-9CD67FED354E}"/>
              </a:ext>
            </a:extLst>
          </p:cNvPr>
          <p:cNvSpPr>
            <a:spLocks noGrp="1"/>
          </p:cNvSpPr>
          <p:nvPr>
            <p:ph type="pic" sz="quarter" idx="28" hasCustomPrompt="1"/>
            <p:custDataLst>
              <p:tags r:id="rId10"/>
            </p:custDataLst>
          </p:nvPr>
        </p:nvSpPr>
        <p:spPr>
          <a:xfrm>
            <a:off x="2591303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D25526F9-1F13-914D-86FC-279DFD7BB05A}"/>
              </a:ext>
            </a:extLst>
          </p:cNvPr>
          <p:cNvSpPr>
            <a:spLocks noGrp="1"/>
          </p:cNvSpPr>
          <p:nvPr>
            <p:ph type="pic" sz="quarter" idx="29" hasCustomPrompt="1"/>
            <p:custDataLst>
              <p:tags r:id="rId11"/>
            </p:custDataLst>
          </p:nvPr>
        </p:nvSpPr>
        <p:spPr>
          <a:xfrm>
            <a:off x="4895370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43DA012-6A0A-F54B-8416-26E96F547CB3}"/>
              </a:ext>
            </a:extLst>
          </p:cNvPr>
          <p:cNvSpPr>
            <a:spLocks noGrp="1"/>
          </p:cNvSpPr>
          <p:nvPr>
            <p:ph type="pic" sz="quarter" idx="30" hasCustomPrompt="1"/>
            <p:custDataLst>
              <p:tags r:id="rId12"/>
            </p:custDataLst>
          </p:nvPr>
        </p:nvSpPr>
        <p:spPr>
          <a:xfrm>
            <a:off x="7199436" y="3060000"/>
            <a:ext cx="1657227" cy="10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2DD13F0-50DC-6944-A174-25848F2F14EB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13"/>
            </p:custDataLst>
          </p:nvPr>
        </p:nvSpPr>
        <p:spPr>
          <a:xfrm>
            <a:off x="2591369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endParaRPr lang="en-US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DB3FB6B7-6360-E447-BEBA-770F0EDEC7AB}"/>
              </a:ext>
            </a:extLst>
          </p:cNvPr>
          <p:cNvSpPr>
            <a:spLocks noGrp="1"/>
          </p:cNvSpPr>
          <p:nvPr>
            <p:ph type="body" sz="quarter" idx="32" hasCustomPrompt="1"/>
            <p:custDataLst>
              <p:tags r:id="rId14"/>
            </p:custDataLst>
          </p:nvPr>
        </p:nvSpPr>
        <p:spPr>
          <a:xfrm>
            <a:off x="4895402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CE4EBBB-B9D5-6C4E-A9F5-6EEE14528FD3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15"/>
            </p:custDataLst>
          </p:nvPr>
        </p:nvSpPr>
        <p:spPr>
          <a:xfrm>
            <a:off x="7199436" y="4212000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32CE9FE3-4BB8-2A69-FB00-3DE783CAFB3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E36237F-7867-F103-A78D-7726494A52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F79005F5-0304-3C89-7CB7-E7B9A7F0E1D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4D43EA28-050F-4DFC-6BAF-F52350EF7F58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6"/>
            </p:custDataLst>
          </p:nvPr>
        </p:nvSpPr>
        <p:spPr>
          <a:xfrm>
            <a:off x="287236" y="2595368"/>
            <a:ext cx="1657227" cy="3240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900" b="0" i="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D9565755-8502-1B4E-1167-D7D9F1CCB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B3F56A09-2DFC-6C41-1375-351AAD0AD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492151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4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6E84F34D-7729-8749-BAB7-3E3902464D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CD7442F5-9C17-EFEC-65FD-A6E46A23694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2102599"/>
            <a:ext cx="5976936" cy="774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Zapf Dingbats"/>
              <a:buChar char="❯"/>
              <a:defRPr sz="1100" b="0" i="0" cap="all" baseline="0">
                <a:solidFill>
                  <a:schemeClr val="tx2"/>
                </a:solidFill>
              </a:defRPr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3485C58B-D4B5-D243-F977-3395B75946E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0" y="2993236"/>
            <a:ext cx="5976936" cy="774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Zapf Dingbats"/>
              <a:buChar char="❯"/>
              <a:defRPr sz="1100" b="0" i="0" cap="all" baseline="0">
                <a:solidFill>
                  <a:schemeClr val="tx2"/>
                </a:solidFill>
              </a:defRPr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30482870-8CEE-F28B-8DDA-986884BFFE6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3885313"/>
            <a:ext cx="5976936" cy="774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Zapf Dingbats"/>
              <a:buChar char="❯"/>
              <a:defRPr sz="1100" b="0" i="0" cap="all" baseline="0">
                <a:solidFill>
                  <a:schemeClr val="tx2"/>
                </a:solidFill>
              </a:defRPr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29EFE4A-B926-6832-54C2-7E612BAAF2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1210522"/>
            <a:ext cx="5976936" cy="774000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FE86604F-582A-9C8C-433B-66D29828A2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C51DD61-C125-DB2B-4C7A-59AD12717D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6" name="Grafik 5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8CE7554-54C0-E4EB-C935-B163CD2EC1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8393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3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859A7BEE-0A31-8B43-ACF6-7653EB8E71E5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A6C1EE91-F345-EE5E-462D-88072698FBD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96092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A8B8F0F9-0D4F-F1C8-A10B-D9CEF48138FF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612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491325"/>
            <a:ext cx="2761200" cy="3167988"/>
          </a:xfrm>
          <a:solidFill>
            <a:schemeClr val="tx2">
              <a:alpha val="15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3698CB2-24AC-CA51-509B-79EC684F32F9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196800" y="1491325"/>
            <a:ext cx="2761200" cy="3167988"/>
          </a:xfrm>
          <a:solidFill>
            <a:schemeClr val="tx2">
              <a:alpha val="30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BF069785-703B-5AE9-B559-DAEEA8CDDF5E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6084000" y="1491325"/>
            <a:ext cx="2761200" cy="3167988"/>
          </a:xfrm>
          <a:solidFill>
            <a:schemeClr val="tx2">
              <a:alpha val="50000"/>
            </a:schemeClr>
          </a:solidFill>
        </p:spPr>
        <p:txBody>
          <a:bodyPr lIns="216000" tIns="144000" rIns="72000" bIns="144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7B8EA88B-090D-ABD7-2282-5E5604216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774DF7B3-2BDA-FDA4-7533-98A35BABAA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837656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3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2761200" cy="3455988"/>
          </a:xfrm>
          <a:solidFill>
            <a:schemeClr val="tx2">
              <a:alpha val="15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Onlinebild-Platzhalter 10">
            <a:extLst>
              <a:ext uri="{FF2B5EF4-FFF2-40B4-BE49-F238E27FC236}">
                <a16:creationId xmlns:a16="http://schemas.microsoft.com/office/drawing/2014/main" id="{F4C31597-E879-5FA3-F092-C40E47DB6EA8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1451935" y="1347325"/>
            <a:ext cx="432000" cy="432000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791B1374-CFD3-1518-749F-9BB1221516F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196800" y="1202400"/>
            <a:ext cx="2761200" cy="3455988"/>
          </a:xfrm>
          <a:solidFill>
            <a:schemeClr val="tx2">
              <a:alpha val="3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Onlinebild-Platzhalter 10">
            <a:extLst>
              <a:ext uri="{FF2B5EF4-FFF2-40B4-BE49-F238E27FC236}">
                <a16:creationId xmlns:a16="http://schemas.microsoft.com/office/drawing/2014/main" id="{0E122032-FC54-4D9B-E568-13F428960A3E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4365792" y="1347325"/>
            <a:ext cx="432000" cy="43200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89A063ED-99A0-9323-4C9B-D216ABF9772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6095463" y="1202400"/>
            <a:ext cx="2761200" cy="3455988"/>
          </a:xfrm>
          <a:solidFill>
            <a:schemeClr val="tx2">
              <a:alpha val="5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B4EE91A8-A070-C67F-CCE6-1537E357E81C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7240488" y="1347325"/>
            <a:ext cx="432000" cy="432000"/>
          </a:xfr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FDC17F11-711A-9D52-699C-6A30D1D36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7D2EE9CE-4328-EDD5-FB8C-B6A80D0EAC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59462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4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C1CBEC77-D501-1CF3-0791-A9BE94B4298E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287334" y="1487678"/>
            <a:ext cx="2027241" cy="3171635"/>
          </a:xfrm>
          <a:solidFill>
            <a:schemeClr val="tx2">
              <a:alpha val="1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363A012-E2DD-F426-8016-AE1429876F60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469600" y="1487678"/>
            <a:ext cx="2027241" cy="317163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30BD902-AA13-400C-0657-4F628A59E1C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4647600" y="1487678"/>
            <a:ext cx="2027241" cy="3171635"/>
          </a:xfrm>
          <a:solidFill>
            <a:schemeClr val="tx2">
              <a:alpha val="35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8F01AEE-F98F-A0B1-54ED-0B2BD7F1836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6825600" y="1487678"/>
            <a:ext cx="2027241" cy="3171635"/>
          </a:xfrm>
          <a:solidFill>
            <a:schemeClr val="tx2">
              <a:alpha val="5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E376CD2-1968-0C62-85D9-F4B807B1C84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8762C523-8648-ADD0-08CB-74A88171B84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EA3269-B6DF-A477-2857-509F43069D43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9705286-E45D-4F96-0C9C-F9612653788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D9CBCDA9-31E4-0841-7F1D-996C653C2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FC18D7F2-F2FC-B9F1-C422-CB53DFFD63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169801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4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8">
            <a:extLst>
              <a:ext uri="{FF2B5EF4-FFF2-40B4-BE49-F238E27FC236}">
                <a16:creationId xmlns:a16="http://schemas.microsoft.com/office/drawing/2014/main" id="{3C5A57B6-B614-662B-8176-1FA923B6ADD2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825600" y="1202400"/>
            <a:ext cx="2026800" cy="3456000"/>
          </a:xfrm>
          <a:solidFill>
            <a:schemeClr val="tx2">
              <a:alpha val="5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89A063ED-99A0-9323-4C9B-D216ABF97724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4647600" y="1202400"/>
            <a:ext cx="2026800" cy="3456000"/>
          </a:xfrm>
          <a:solidFill>
            <a:schemeClr val="tx2">
              <a:alpha val="35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791B1374-CFD3-1518-749F-9BB1221516F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469600" y="1202400"/>
            <a:ext cx="2026800" cy="3456000"/>
          </a:xfrm>
          <a:solidFill>
            <a:schemeClr val="tx2">
              <a:alpha val="2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84F16AC7-6229-802C-07E7-FDFBDCD1FC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2026800" cy="3456000"/>
          </a:xfrm>
          <a:solidFill>
            <a:schemeClr val="tx2">
              <a:alpha val="1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Onlinebild-Platzhalter 10">
            <a:extLst>
              <a:ext uri="{FF2B5EF4-FFF2-40B4-BE49-F238E27FC236}">
                <a16:creationId xmlns:a16="http://schemas.microsoft.com/office/drawing/2014/main" id="{F4C31597-E879-5FA3-F092-C40E47DB6EA8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1084735" y="1347325"/>
            <a:ext cx="432000" cy="43200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Onlinebild-Platzhalter 10">
            <a:extLst>
              <a:ext uri="{FF2B5EF4-FFF2-40B4-BE49-F238E27FC236}">
                <a16:creationId xmlns:a16="http://schemas.microsoft.com/office/drawing/2014/main" id="{0E122032-FC54-4D9B-E568-13F428960A3E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3264867" y="1347325"/>
            <a:ext cx="432000" cy="432000"/>
          </a:xfr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B4EE91A8-A070-C67F-CCE6-1537E357E81C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5445000" y="1347325"/>
            <a:ext cx="432000" cy="432000"/>
          </a:xfrm>
          <a:blipFill>
            <a:blip r:embed="rId8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6" name="Onlinebild-Platzhalter 10">
            <a:extLst>
              <a:ext uri="{FF2B5EF4-FFF2-40B4-BE49-F238E27FC236}">
                <a16:creationId xmlns:a16="http://schemas.microsoft.com/office/drawing/2014/main" id="{DC8FB190-FA34-48F7-8D1C-E21125AA139A}"/>
              </a:ext>
            </a:extLst>
          </p:cNvPr>
          <p:cNvSpPr>
            <a:spLocks noGrp="1"/>
          </p:cNvSpPr>
          <p:nvPr>
            <p:ph type="clipArt" sz="quarter" idx="79" hasCustomPrompt="1"/>
            <p:custDataLst>
              <p:tags r:id="rId4"/>
            </p:custDataLst>
          </p:nvPr>
        </p:nvSpPr>
        <p:spPr>
          <a:xfrm>
            <a:off x="7623000" y="1347325"/>
            <a:ext cx="432000" cy="432000"/>
          </a:xfrm>
          <a:blipFill>
            <a:blip r:embed="rId9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1009D99C-C149-92FA-8A29-58475DA1A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0BECC9FE-6AB4-63DE-A30C-3DE09460BD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880319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5 - text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B8716EE9-0476-FCD4-A1F2-CE9F5F9724D1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49FF96AF-F0A4-0EF9-A20F-37E558380BB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5CACEEB-997D-EB30-AE3B-F92ECF2FD822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A1BF6B7-007B-9673-832D-81035ED3079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7500EB92-70BB-8ADD-782F-CF79BFA55953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8E9917FA-1000-8B45-6CBF-D200E5BDE738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287335" y="1487678"/>
            <a:ext cx="1602000" cy="3171635"/>
          </a:xfrm>
          <a:solidFill>
            <a:schemeClr val="tx2">
              <a:alpha val="1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26F900F2-68A0-3747-EB88-5CA4EACD99A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2026680" y="1487678"/>
            <a:ext cx="1602000" cy="317163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D8F151C0-593D-8DE6-2D56-ABF8395ADE6D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771000" y="1487678"/>
            <a:ext cx="1602000" cy="3171635"/>
          </a:xfrm>
          <a:solidFill>
            <a:schemeClr val="tx2">
              <a:alpha val="3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69C58877-82C2-0E3F-5202-C22BCD52F92A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511824" y="1487678"/>
            <a:ext cx="1602000" cy="3171635"/>
          </a:xfrm>
          <a:solidFill>
            <a:schemeClr val="tx2">
              <a:alpha val="4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9A2357E3-72F5-4E2E-9575-64FC31ED168E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7252648" y="1487678"/>
            <a:ext cx="1602000" cy="3171635"/>
          </a:xfrm>
          <a:solidFill>
            <a:schemeClr val="tx2">
              <a:alpha val="5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A80DA96-C85A-4656-2A27-E19EAE8934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8DAAABA8-28CE-27D5-CA4B-4845BA9825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739924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-columns 5 - tex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9DA7C3AE-648A-B07C-1DE8-355083741B38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7252647" y="1203325"/>
            <a:ext cx="1604017" cy="3456000"/>
          </a:xfrm>
          <a:solidFill>
            <a:schemeClr val="tx2">
              <a:alpha val="4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D7812B5F-105F-406D-C0BE-25DB7C074B26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5511570" y="1203325"/>
            <a:ext cx="1604017" cy="3456000"/>
          </a:xfrm>
          <a:solidFill>
            <a:schemeClr val="tx2">
              <a:alpha val="4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8B9D7B1C-A2B4-DFF5-FC38-19DF8A876F00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3770493" y="1203325"/>
            <a:ext cx="1604017" cy="3456000"/>
          </a:xfrm>
          <a:solidFill>
            <a:schemeClr val="tx2">
              <a:alpha val="3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E2AA0046-4389-4380-1ECD-9EEBCE630E5B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2024663" y="1203325"/>
            <a:ext cx="1604017" cy="3456000"/>
          </a:xfrm>
          <a:solidFill>
            <a:schemeClr val="tx2">
              <a:alpha val="2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A37EA99-5F1C-DE59-DB1D-3214C80E4593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87335" y="1203325"/>
            <a:ext cx="1604017" cy="3456000"/>
          </a:xfrm>
          <a:solidFill>
            <a:schemeClr val="tx2">
              <a:alpha val="10000"/>
            </a:schemeClr>
          </a:solidFill>
        </p:spPr>
        <p:txBody>
          <a:bodyPr lIns="180000" tIns="684000" rIns="180000" bIns="18000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100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4F97D8-A1AE-2730-EBCA-CF8109037B7C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FEAB815-EE0B-4672-A7AD-B8E1EB8BC7FA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9B6DF54-6575-3F61-F99F-781ECFA7E19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1" name="Onlinebild-Platzhalter 10">
            <a:extLst>
              <a:ext uri="{FF2B5EF4-FFF2-40B4-BE49-F238E27FC236}">
                <a16:creationId xmlns:a16="http://schemas.microsoft.com/office/drawing/2014/main" id="{63EA1B57-9C14-C01A-F27B-DAECD5D3D265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1"/>
            </p:custDataLst>
          </p:nvPr>
        </p:nvSpPr>
        <p:spPr>
          <a:xfrm>
            <a:off x="873343" y="1347326"/>
            <a:ext cx="432000" cy="432000"/>
          </a:xfr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Onlinebild-Platzhalter 10">
            <a:extLst>
              <a:ext uri="{FF2B5EF4-FFF2-40B4-BE49-F238E27FC236}">
                <a16:creationId xmlns:a16="http://schemas.microsoft.com/office/drawing/2014/main" id="{02C25A4A-37E7-126E-4590-B8DE59F7CECA}"/>
              </a:ext>
            </a:extLst>
          </p:cNvPr>
          <p:cNvSpPr>
            <a:spLocks noGrp="1"/>
          </p:cNvSpPr>
          <p:nvPr>
            <p:ph type="clipArt" sz="quarter" idx="75" hasCustomPrompt="1"/>
            <p:custDataLst>
              <p:tags r:id="rId2"/>
            </p:custDataLst>
          </p:nvPr>
        </p:nvSpPr>
        <p:spPr>
          <a:xfrm>
            <a:off x="2610671" y="1347326"/>
            <a:ext cx="432000" cy="432000"/>
          </a:xfrm>
          <a:blipFill>
            <a:blip r:embed="rId8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Onlinebild-Platzhalter 10">
            <a:extLst>
              <a:ext uri="{FF2B5EF4-FFF2-40B4-BE49-F238E27FC236}">
                <a16:creationId xmlns:a16="http://schemas.microsoft.com/office/drawing/2014/main" id="{29BEDF80-DDA3-5987-1179-E8A64211FD26}"/>
              </a:ext>
            </a:extLst>
          </p:cNvPr>
          <p:cNvSpPr>
            <a:spLocks noGrp="1"/>
          </p:cNvSpPr>
          <p:nvPr>
            <p:ph type="clipArt" sz="quarter" idx="77" hasCustomPrompt="1"/>
            <p:custDataLst>
              <p:tags r:id="rId3"/>
            </p:custDataLst>
          </p:nvPr>
        </p:nvSpPr>
        <p:spPr>
          <a:xfrm>
            <a:off x="4356000" y="1347326"/>
            <a:ext cx="432000" cy="432000"/>
          </a:xfrm>
          <a:blipFill>
            <a:blip r:embed="rId9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5" name="Onlinebild-Platzhalter 10">
            <a:extLst>
              <a:ext uri="{FF2B5EF4-FFF2-40B4-BE49-F238E27FC236}">
                <a16:creationId xmlns:a16="http://schemas.microsoft.com/office/drawing/2014/main" id="{C3C55844-2A00-B679-12C9-021C2BDF28CA}"/>
              </a:ext>
            </a:extLst>
          </p:cNvPr>
          <p:cNvSpPr>
            <a:spLocks noGrp="1"/>
          </p:cNvSpPr>
          <p:nvPr>
            <p:ph type="clipArt" sz="quarter" idx="83" hasCustomPrompt="1"/>
            <p:custDataLst>
              <p:tags r:id="rId4"/>
            </p:custDataLst>
          </p:nvPr>
        </p:nvSpPr>
        <p:spPr>
          <a:xfrm>
            <a:off x="6097578" y="1347326"/>
            <a:ext cx="432000" cy="432000"/>
          </a:xfrm>
          <a:blipFill>
            <a:blip r:embed="rId10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0" name="Onlinebild-Platzhalter 10">
            <a:extLst>
              <a:ext uri="{FF2B5EF4-FFF2-40B4-BE49-F238E27FC236}">
                <a16:creationId xmlns:a16="http://schemas.microsoft.com/office/drawing/2014/main" id="{C4D3318D-5E2D-558C-0D1C-202D8B5ECDDB}"/>
              </a:ext>
            </a:extLst>
          </p:cNvPr>
          <p:cNvSpPr>
            <a:spLocks noGrp="1"/>
          </p:cNvSpPr>
          <p:nvPr>
            <p:ph type="clipArt" sz="quarter" idx="88" hasCustomPrompt="1"/>
            <p:custDataLst>
              <p:tags r:id="rId5"/>
            </p:custDataLst>
          </p:nvPr>
        </p:nvSpPr>
        <p:spPr>
          <a:xfrm>
            <a:off x="7838655" y="1347326"/>
            <a:ext cx="432000" cy="432000"/>
          </a:xfrm>
          <a:blipFill>
            <a:blip r:embed="rId11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6ECCF-C624-5F9D-28FA-D9BBADF64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636A2B57-C69E-6B57-526E-EC21C565B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7909119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D754083C-E015-F4C8-8027-C1E90E14D57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F37D654-47AA-2D93-E21C-4EA291A7A957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510F739E-6D43-C9BF-353A-E5C878E4D544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6C965916-D702-E5D2-898E-FD989A2B2B1A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3245080-9CAB-277E-EDFE-5B634A35D70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682EAC47-4099-9FCF-7F08-5428DC91119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67064" y="1203325"/>
            <a:ext cx="2809874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15F09679-97CB-46FB-DC96-CE57E162C79A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8879681D-D55B-3026-1EB5-F2574B8872B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7334" y="1491325"/>
            <a:ext cx="2771775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91B1A31A-EFBC-2A2C-E9C5-64F610FE84C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167058" y="1491325"/>
            <a:ext cx="2809874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EF3354DA-E26A-37E0-EB81-9EBC9723358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084888" y="1491325"/>
            <a:ext cx="2771775" cy="1404275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5A26D930-E019-F8B5-259E-CD62D44A64AF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E4030DFD-EC80-3D25-4928-A12DE2CD9FF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4" name="Onlinebild-Platzhalter 10">
            <a:extLst>
              <a:ext uri="{FF2B5EF4-FFF2-40B4-BE49-F238E27FC236}">
                <a16:creationId xmlns:a16="http://schemas.microsoft.com/office/drawing/2014/main" id="{5D8B065F-7065-D2A6-C467-7126A44E10D0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3"/>
            </p:custDataLst>
          </p:nvPr>
        </p:nvSpPr>
        <p:spPr>
          <a:xfrm>
            <a:off x="1689100" y="3315171"/>
            <a:ext cx="5767388" cy="441325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1CB9C88D-3C5F-3D1C-855B-03897AE1F1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D1E4D73-0064-150F-2E3B-C276E85E7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1007120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0E2F52A-6CFC-1949-B2C0-9743CFBA920F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BDB0E054-BD24-A34B-9B3D-6D5B548827B8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8EFE3EB5-19EC-6A4C-8583-81E27ED57EAF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2"/>
            </p:custDataLst>
          </p:nvPr>
        </p:nvSpPr>
        <p:spPr>
          <a:xfrm>
            <a:off x="3167062" y="1491324"/>
            <a:ext cx="2809876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2E6944D-BDB1-7243-9A79-FB8ABCD00D47}"/>
              </a:ext>
            </a:extLst>
          </p:cNvPr>
          <p:cNvSpPr>
            <a:spLocks noGrp="1"/>
          </p:cNvSpPr>
          <p:nvPr>
            <p:ph type="pic" sz="quarter" idx="25" hasCustomPrompt="1"/>
            <p:custDataLst>
              <p:tags r:id="rId3"/>
            </p:custDataLst>
          </p:nvPr>
        </p:nvSpPr>
        <p:spPr>
          <a:xfrm>
            <a:off x="6096000" y="1527324"/>
            <a:ext cx="2760662" cy="13652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8C8F5B71-A61B-422C-B970-E2734375960F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491325"/>
            <a:ext cx="2760663" cy="14042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7D2DB278-C200-6068-B3AB-4EB9D2522A7B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0744E7-A101-3844-3C3E-A961B0D0BCCE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4AF206A4-FEDF-F598-F53C-5F01FE10F68F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6A727C03-1D2F-C773-8BAA-A31573F3D573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5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5" name="Onlinebild-Platzhalter 10">
            <a:extLst>
              <a:ext uri="{FF2B5EF4-FFF2-40B4-BE49-F238E27FC236}">
                <a16:creationId xmlns:a16="http://schemas.microsoft.com/office/drawing/2014/main" id="{2A966784-8A28-A46A-1624-40D71A65D590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6"/>
            </p:custDataLst>
          </p:nvPr>
        </p:nvSpPr>
        <p:spPr>
          <a:xfrm>
            <a:off x="1689100" y="3315171"/>
            <a:ext cx="5767388" cy="441325"/>
          </a:xfrm>
          <a:blipFill>
            <a:blip r:embed="rId8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4A4D66FB-851A-8EF7-42C2-02278A9B550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87338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2D6A39DC-3D7B-DD2B-EA33-0A39310C71C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67064" y="1203325"/>
            <a:ext cx="2809874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869505B4-AD49-DEE7-FAB9-34E8CD917E8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84887" y="1203325"/>
            <a:ext cx="2771775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8AEBC1B-CD1B-72A3-8A33-EBDEA5E2E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8148FC1A-BC1D-B42A-C5B6-E3AF299D2E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4445360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382AD9D-42AC-A2B6-829E-598FFB632AB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221268-34F4-80A1-98FF-E4EE097448D7}"/>
              </a:ext>
            </a:extLst>
          </p:cNvPr>
          <p:cNvSpPr>
            <a:spLocks noGrp="1"/>
          </p:cNvSpPr>
          <p:nvPr>
            <p:ph type="dt" sz="half" idx="67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28F2703-6576-D4E9-1F41-6B6480133F5E}"/>
              </a:ext>
            </a:extLst>
          </p:cNvPr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50B091F-E1D4-FBCD-BD46-A7B66C39AF15}"/>
              </a:ext>
            </a:extLst>
          </p:cNvPr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5A16F8E9-0770-1C6E-6717-F2DB93CCB58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334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EEAEF662-3337-B1A6-F65A-A89B9F1D404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469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ECF7EF7B-90B9-F4C4-AC15-59C8909810D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4647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A343C70E-0DAB-041F-057B-94769620D62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825600" y="1487678"/>
            <a:ext cx="2027241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FB2FCE36-57B3-36EB-3DAF-8D9A540C5FDB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9" name="Textplatzhalter 13">
            <a:extLst>
              <a:ext uri="{FF2B5EF4-FFF2-40B4-BE49-F238E27FC236}">
                <a16:creationId xmlns:a16="http://schemas.microsoft.com/office/drawing/2014/main" id="{412F84D3-1FC1-A5E6-0FEA-C0D2B9C3FC1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0" name="Textplatzhalter 13">
            <a:extLst>
              <a:ext uri="{FF2B5EF4-FFF2-40B4-BE49-F238E27FC236}">
                <a16:creationId xmlns:a16="http://schemas.microsoft.com/office/drawing/2014/main" id="{D9C3A974-C9C0-06C3-561E-8BCDB52B10EE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1" name="Textplatzhalter 13">
            <a:extLst>
              <a:ext uri="{FF2B5EF4-FFF2-40B4-BE49-F238E27FC236}">
                <a16:creationId xmlns:a16="http://schemas.microsoft.com/office/drawing/2014/main" id="{D61CC285-1E27-F5BA-06A8-99356A0683E7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B013969B-56C9-9D9E-65F9-DC70D109115C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F62F4DD2-42C1-E530-34A0-F963C86268FB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47" name="Onlinebild-Platzhalter 10">
            <a:extLst>
              <a:ext uri="{FF2B5EF4-FFF2-40B4-BE49-F238E27FC236}">
                <a16:creationId xmlns:a16="http://schemas.microsoft.com/office/drawing/2014/main" id="{D2CC4469-973B-B49C-3DEE-141878EF0CBB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3"/>
            </p:custDataLst>
          </p:nvPr>
        </p:nvSpPr>
        <p:spPr>
          <a:xfrm>
            <a:off x="1689100" y="3315171"/>
            <a:ext cx="5767388" cy="441325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4935F52D-0060-0E29-EE13-651694724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0F028DE7-CEEF-A00D-EDA1-34985F3331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2111968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382AD9D-42AC-A2B6-829E-598FFB632ABB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221268-34F4-80A1-98FF-E4EE097448D7}"/>
              </a:ext>
            </a:extLst>
          </p:cNvPr>
          <p:cNvSpPr>
            <a:spLocks noGrp="1"/>
          </p:cNvSpPr>
          <p:nvPr>
            <p:ph type="dt" sz="half" idx="67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28F2703-6576-D4E9-1F41-6B6480133F5E}"/>
              </a:ext>
            </a:extLst>
          </p:cNvPr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50B091F-E1D4-FBCD-BD46-A7B66C39AF15}"/>
              </a:ext>
            </a:extLst>
          </p:cNvPr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FFF4417A-17F4-11EF-F121-46850D5C2ABE}"/>
              </a:ext>
            </a:extLst>
          </p:cNvPr>
          <p:cNvSpPr>
            <a:spLocks noGrp="1"/>
          </p:cNvSpPr>
          <p:nvPr>
            <p:ph type="pic" sz="quarter" idx="72" hasCustomPrompt="1"/>
            <p:custDataLst>
              <p:tags r:id="rId1"/>
            </p:custDataLst>
          </p:nvPr>
        </p:nvSpPr>
        <p:spPr>
          <a:xfrm>
            <a:off x="287338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C4EEA937-61B7-FFE9-4DE0-397C64D17A0F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2"/>
            </p:custDataLst>
          </p:nvPr>
        </p:nvSpPr>
        <p:spPr>
          <a:xfrm>
            <a:off x="2470150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A58B3653-ACDD-F612-B347-38D5093B6ED4}"/>
              </a:ext>
            </a:extLst>
          </p:cNvPr>
          <p:cNvSpPr>
            <a:spLocks noGrp="1"/>
          </p:cNvSpPr>
          <p:nvPr>
            <p:ph type="pic" sz="quarter" idx="49" hasCustomPrompt="1"/>
            <p:custDataLst>
              <p:tags r:id="rId3"/>
            </p:custDataLst>
          </p:nvPr>
        </p:nvSpPr>
        <p:spPr>
          <a:xfrm>
            <a:off x="4648766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14">
            <a:extLst>
              <a:ext uri="{FF2B5EF4-FFF2-40B4-BE49-F238E27FC236}">
                <a16:creationId xmlns:a16="http://schemas.microsoft.com/office/drawing/2014/main" id="{9909A5AC-617C-881F-6A68-76A87B36D970}"/>
              </a:ext>
            </a:extLst>
          </p:cNvPr>
          <p:cNvSpPr>
            <a:spLocks noGrp="1"/>
          </p:cNvSpPr>
          <p:nvPr>
            <p:ph type="pic" sz="quarter" idx="53" hasCustomPrompt="1"/>
            <p:custDataLst>
              <p:tags r:id="rId4"/>
            </p:custDataLst>
          </p:nvPr>
        </p:nvSpPr>
        <p:spPr>
          <a:xfrm>
            <a:off x="6827383" y="1491325"/>
            <a:ext cx="2034000" cy="14042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6AB41A3C-239F-1A41-560A-BEB5D17247B8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1EE73F05-43C5-41BC-5FAE-1C6184C5EDC3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6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7" name="Onlinebild-Platzhalter 10">
            <a:extLst>
              <a:ext uri="{FF2B5EF4-FFF2-40B4-BE49-F238E27FC236}">
                <a16:creationId xmlns:a16="http://schemas.microsoft.com/office/drawing/2014/main" id="{98943601-4B38-C2CA-784D-C8BFE4FF5112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7"/>
            </p:custDataLst>
          </p:nvPr>
        </p:nvSpPr>
        <p:spPr>
          <a:xfrm>
            <a:off x="1689100" y="3315171"/>
            <a:ext cx="5767388" cy="441325"/>
          </a:xfrm>
          <a:blipFill>
            <a:blip r:embed="rId9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45199540-D6E6-7925-CC4E-D448E1364FC9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7337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E7D664E0-8173-5108-3200-1C27340D9B4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2469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4F7CCADB-A9C7-9BCD-D8F3-3C807D681EB6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464760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E4A4647-4B2C-F467-CDE3-48F1AD1104FC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825050" y="1203325"/>
            <a:ext cx="2034000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itel 11">
            <a:extLst>
              <a:ext uri="{FF2B5EF4-FFF2-40B4-BE49-F238E27FC236}">
                <a16:creationId xmlns:a16="http://schemas.microsoft.com/office/drawing/2014/main" id="{87ED38F3-99CC-D564-9E8B-7A1B4BC1C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FF4570F9-D6A4-BC6E-D1C7-EB1426EFD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4265969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5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0" y="3332227"/>
            <a:ext cx="5976936" cy="612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4047313"/>
            <a:ext cx="5976936" cy="612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  <a:endParaRPr lang="en-US"/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912959"/>
            <a:ext cx="5976936" cy="612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622593"/>
            <a:ext cx="5976936" cy="612000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3325"/>
            <a:ext cx="5976936" cy="612000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5181E53F-A8E7-895A-ACC8-82133EDBD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9211D1F3-7E16-5F35-ACE8-0269F18D7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6" name="Grafik 5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1C62329A-41FE-6137-2D31-F0F1261566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1285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columns - tex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EA912F94-8C06-2A09-6292-DB55A15A4597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6762B461-51C3-9499-2FE3-0214E4F8FB17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22370B1F-4CC8-521C-37BE-BE2A5FB32E0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69593A55-BC8A-D9F1-8ED4-44249236DB13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3"/>
            </p:custDataLst>
          </p:nvPr>
        </p:nvSpPr>
        <p:spPr>
          <a:xfrm>
            <a:off x="1689100" y="3315171"/>
            <a:ext cx="5767388" cy="441325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73F31D01-D780-077C-9D13-2AB6CDCAEBA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EDC69DBD-D0A2-06E7-5C62-C4D9BF37C6C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A506C3FD-9A21-05F5-C176-A725C0D708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C92AC8F4-9238-F183-5B8F-35D0FEDCC1A7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D0C572A-CA9C-A35E-EFF5-42339901C77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243A27DA-9C4A-2E92-F425-AE93E8354BC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287335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4329F516-9BE0-C095-E168-0D4D34DAB55E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2026680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B16DA48A-3F0E-6A75-8F08-C977BDC52C7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71000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62B6AEC3-AAE6-A98B-050B-2E22B37EB34F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11824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8EFDD83A-C9F2-C566-6B79-A55D26A1501E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52648" y="1487678"/>
            <a:ext cx="1602000" cy="1407921"/>
          </a:xfrm>
          <a:solidFill>
            <a:schemeClr val="tx2">
              <a:alpha val="20000"/>
            </a:schemeClr>
          </a:solidFill>
        </p:spPr>
        <p:txBody>
          <a:bodyPr lIns="180000" tIns="144000" rIns="144000" bIns="14400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48BDC80-3E28-4230-5FE1-E28F1B75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0151CD0C-B238-4665-F793-1EAEBDAD4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1927545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columns - pic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EA912F94-8C06-2A09-6292-DB55A15A4597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6762B461-51C3-9499-2FE3-0214E4F8FB17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1"/>
            </p:custDataLst>
          </p:nvPr>
        </p:nvSpPr>
        <p:spPr>
          <a:xfrm>
            <a:off x="1687512" y="2965255"/>
            <a:ext cx="5767387" cy="409940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22370B1F-4CC8-521C-37BE-BE2A5FB32E05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2"/>
            </p:custDataLst>
          </p:nvPr>
        </p:nvSpPr>
        <p:spPr>
          <a:xfrm>
            <a:off x="1688413" y="3885874"/>
            <a:ext cx="5768076" cy="567129"/>
          </a:xfrm>
          <a:prstGeom prst="rect">
            <a:avLst/>
          </a:prstGeom>
          <a:noFill/>
          <a:ln w="28575">
            <a:noFill/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1" cap="none" baseline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1455" indent="0">
              <a:buNone/>
              <a:defRPr sz="1400"/>
            </a:lvl2pPr>
            <a:lvl3pPr marL="442901" indent="0">
              <a:buNone/>
              <a:defRPr sz="1400"/>
            </a:lvl3pPr>
            <a:lvl4pPr marL="628634" indent="0">
              <a:buNone/>
              <a:defRPr sz="1400"/>
            </a:lvl4pPr>
            <a:lvl5pPr marL="814367" indent="0">
              <a:buNone/>
              <a:defRPr sz="14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69593A55-BC8A-D9F1-8ED4-44249236DB13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3"/>
            </p:custDataLst>
          </p:nvPr>
        </p:nvSpPr>
        <p:spPr>
          <a:xfrm>
            <a:off x="1689100" y="3315171"/>
            <a:ext cx="5767388" cy="441325"/>
          </a:xfrm>
          <a:blipFill>
            <a:blip r:embed="rId10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193EF5D3-A5F5-8BA3-42C1-D27439B73AF5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28723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B3B673A0-32AD-9303-9E86-AB3451AA327C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5"/>
            </p:custDataLst>
          </p:nvPr>
        </p:nvSpPr>
        <p:spPr>
          <a:xfrm>
            <a:off x="2026578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FEF61830-8315-E529-F230-252C6979A7FB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6"/>
            </p:custDataLst>
          </p:nvPr>
        </p:nvSpPr>
        <p:spPr>
          <a:xfrm>
            <a:off x="3769176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2A8BF909-2A0F-3BF1-279E-C2EF0C162A9F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7"/>
            </p:custDataLst>
          </p:nvPr>
        </p:nvSpPr>
        <p:spPr>
          <a:xfrm>
            <a:off x="5511773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5108A8FE-7AC6-979A-0C7A-E1B628BA2BC2}"/>
              </a:ext>
            </a:extLst>
          </p:cNvPr>
          <p:cNvSpPr>
            <a:spLocks noGrp="1"/>
          </p:cNvSpPr>
          <p:nvPr>
            <p:ph type="pic" sz="quarter" idx="69" hasCustomPrompt="1"/>
            <p:custDataLst>
              <p:tags r:id="rId8"/>
            </p:custDataLst>
          </p:nvPr>
        </p:nvSpPr>
        <p:spPr>
          <a:xfrm>
            <a:off x="7254369" y="1491325"/>
            <a:ext cx="1602000" cy="1404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73F31D01-D780-077C-9D13-2AB6CDCAEBA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287339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EDC69DBD-D0A2-06E7-5C62-C4D9BF37C6C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2026680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A506C3FD-9A21-05F5-C176-A725C0D708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769227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C92AC8F4-9238-F183-5B8F-35D0FEDCC1A7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51187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D0C572A-CA9C-A35E-EFF5-42339901C77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4765" y="1203325"/>
            <a:ext cx="1601898" cy="288000"/>
          </a:xfrm>
          <a:solidFill>
            <a:schemeClr val="tx2"/>
          </a:solidFill>
        </p:spPr>
        <p:txBody>
          <a:bodyPr lIns="0" anchor="ctr" anchorCtr="0"/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B29852D4-626E-04B7-6468-52FFC5C79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18A4FD21-8135-60D6-C9A6-9FB886151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7426070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1 row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69593A55-BC8A-D9F1-8ED4-44249236DB13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1"/>
            </p:custDataLst>
          </p:nvPr>
        </p:nvSpPr>
        <p:spPr>
          <a:xfrm rot="16200000">
            <a:off x="3501575" y="2746260"/>
            <a:ext cx="2148114" cy="370117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1440000"/>
            <a:ext cx="3780000" cy="2988508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007AEDAC-BEEA-BE9E-DE24-5347D4A9B3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3919C497-2478-91B4-982A-6F31575DEB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1990774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2 rows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69593A55-BC8A-D9F1-8ED4-44249236DB13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1"/>
            </p:custDataLst>
          </p:nvPr>
        </p:nvSpPr>
        <p:spPr>
          <a:xfrm rot="16200000">
            <a:off x="3501575" y="2746260"/>
            <a:ext cx="2148114" cy="370117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2988508"/>
            <a:ext cx="3780000" cy="1440000"/>
          </a:xfrm>
          <a:solidFill>
            <a:schemeClr val="tx2">
              <a:alpha val="3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DEAE2BA-6828-5A51-13D3-B66FF1D4176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338" y="1440000"/>
            <a:ext cx="3780000" cy="1440000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el 11">
            <a:extLst>
              <a:ext uri="{FF2B5EF4-FFF2-40B4-BE49-F238E27FC236}">
                <a16:creationId xmlns:a16="http://schemas.microsoft.com/office/drawing/2014/main" id="{9BF13AAD-9EF5-3415-8248-50D8E48C6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8C9D67B-0EB0-9EC0-E9A8-F2D8350F8C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4625255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rows - 1/2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431117D-C0EF-7362-5EA8-D2ECCD87F6D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CE8484CE-F19C-B162-A470-BA1F11C9685A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FF43B9-2780-5F01-E18D-4D5FBF8C5273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97BEA02A-1EA0-5383-DBCE-26A2A6240DAF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6" name="Onlinebild-Platzhalter 10">
            <a:extLst>
              <a:ext uri="{FF2B5EF4-FFF2-40B4-BE49-F238E27FC236}">
                <a16:creationId xmlns:a16="http://schemas.microsoft.com/office/drawing/2014/main" id="{69593A55-BC8A-D9F1-8ED4-44249236DB13}"/>
              </a:ext>
            </a:extLst>
          </p:cNvPr>
          <p:cNvSpPr>
            <a:spLocks noGrp="1"/>
          </p:cNvSpPr>
          <p:nvPr>
            <p:ph type="clipArt" sz="quarter" idx="47" hasCustomPrompt="1"/>
            <p:custDataLst>
              <p:tags r:id="rId1"/>
            </p:custDataLst>
          </p:nvPr>
        </p:nvSpPr>
        <p:spPr>
          <a:xfrm rot="16200000">
            <a:off x="3501575" y="2746260"/>
            <a:ext cx="2148114" cy="370117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E183008-9278-6FF6-9F12-A5BC48F5418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87338" y="2460588"/>
            <a:ext cx="3780000" cy="917999"/>
          </a:xfrm>
          <a:solidFill>
            <a:schemeClr val="tx2">
              <a:alpha val="3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48D095EF-7DFA-771E-9D81-F46BB91C57C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083926" y="1440000"/>
            <a:ext cx="3780000" cy="2988508"/>
          </a:xfrm>
          <a:noFill/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DEAE2BA-6828-5A51-13D3-B66FF1D4176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338" y="1440001"/>
            <a:ext cx="3780000" cy="917999"/>
          </a:xfrm>
          <a:solidFill>
            <a:schemeClr val="tx2">
              <a:alpha val="20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C8AAE-967D-D672-51F2-9854644B420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87338" y="3481175"/>
            <a:ext cx="3780000" cy="917999"/>
          </a:xfrm>
          <a:solidFill>
            <a:schemeClr val="tx2">
              <a:alpha val="45000"/>
            </a:schemeClr>
          </a:solidFill>
        </p:spPr>
        <p:txBody>
          <a:bodyPr lIns="288000" tIns="288000" rIns="288000" bIns="288000" anchor="ctr" anchorCtr="0"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el 11">
            <a:extLst>
              <a:ext uri="{FF2B5EF4-FFF2-40B4-BE49-F238E27FC236}">
                <a16:creationId xmlns:a16="http://schemas.microsoft.com/office/drawing/2014/main" id="{0F9526F5-C10B-8696-3781-DCB7C4709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752691F-9F5E-56BD-E8DB-32939F5A74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24288057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C8D0039-1F28-9B02-80ED-A291A3BE5B74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90951" y="1203325"/>
            <a:ext cx="2915917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22077DFE-AF33-104F-ACCB-04C8240EDB8B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3126996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7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CBF8BA81-CD94-334B-B318-8EDE1BD623FF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3"/>
            </p:custDataLst>
          </p:nvPr>
        </p:nvSpPr>
        <p:spPr bwMode="gray">
          <a:xfrm>
            <a:off x="5969667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4"/>
            </p:custDataLst>
          </p:nvPr>
        </p:nvSpPr>
        <p:spPr>
          <a:xfrm>
            <a:off x="287337" y="1706564"/>
            <a:ext cx="277177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2" name="Bildplatzhalter 14">
            <a:extLst>
              <a:ext uri="{FF2B5EF4-FFF2-40B4-BE49-F238E27FC236}">
                <a16:creationId xmlns:a16="http://schemas.microsoft.com/office/drawing/2014/main" id="{7970463A-CC71-1947-9A58-220906ECFDCB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5"/>
            </p:custDataLst>
          </p:nvPr>
        </p:nvSpPr>
        <p:spPr>
          <a:xfrm>
            <a:off x="3167134" y="1706564"/>
            <a:ext cx="2809803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F76E17B-0EED-6B43-B7F1-A2DEC8B3FCD0}"/>
              </a:ext>
            </a:extLst>
          </p:cNvPr>
          <p:cNvSpPr>
            <a:spLocks noGrp="1"/>
          </p:cNvSpPr>
          <p:nvPr>
            <p:ph type="pic" sz="quarter" idx="27" hasCustomPrompt="1"/>
            <p:custDataLst>
              <p:tags r:id="rId6"/>
            </p:custDataLst>
          </p:nvPr>
        </p:nvSpPr>
        <p:spPr>
          <a:xfrm>
            <a:off x="6084855" y="1706564"/>
            <a:ext cx="2783421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AC1A73D-23EA-400D-BED3-22109FC2C4BC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2EA5A45B-8B40-2B1B-2950-1166B7601748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B94A265-C44F-0327-F7B1-CE2F653AD6D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4C3AE632-C244-2EB9-7B86-A986E0CBC12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D68DB0A4-8EB4-B5C0-0B15-59C303E4585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167134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E164366C-411E-1F09-8058-DBDCE06CA59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84888" y="3060001"/>
            <a:ext cx="255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4CDF72A-76DC-9457-3BBB-0B1A3CEE2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38ED0F7-E565-3ECE-26AE-523D55F402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4244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3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C8D0039-1F28-9B02-80ED-A291A3BE5B74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90951" y="1203325"/>
            <a:ext cx="2915917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22077DFE-AF33-104F-ACCB-04C8240EDB8B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3126996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7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CBF8BA81-CD94-334B-B318-8EDE1BD623FF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3"/>
            </p:custDataLst>
          </p:nvPr>
        </p:nvSpPr>
        <p:spPr bwMode="gray">
          <a:xfrm>
            <a:off x="5969667" y="1203325"/>
            <a:ext cx="2915917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AC1A73D-23EA-400D-BED3-22109FC2C4BC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2EA5A45B-8B40-2B1B-2950-1166B7601748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B94A265-C44F-0327-F7B1-CE2F653AD6D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FCF92F0A-E389-14D9-7C13-94EBBD3F79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7F16E4-570C-82F5-7788-8DAA0E98AA5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167134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C46DAD6-97ED-4E65-3048-F45353BDA9F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84888" y="1764001"/>
            <a:ext cx="255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1" name="Titel 11">
            <a:extLst>
              <a:ext uri="{FF2B5EF4-FFF2-40B4-BE49-F238E27FC236}">
                <a16:creationId xmlns:a16="http://schemas.microsoft.com/office/drawing/2014/main" id="{33780796-F8C3-5474-CB9B-9FC27D832E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7934439F-78B6-19E2-A2DC-F6D2ED57FD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358914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4E46AC-30C9-EFD9-1C46-BD71F11D50D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8" y="1203325"/>
            <a:ext cx="2232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4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2"/>
            </p:custDataLst>
          </p:nvPr>
        </p:nvSpPr>
        <p:spPr>
          <a:xfrm>
            <a:off x="287338" y="1706564"/>
            <a:ext cx="2027237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0E1D4144-6ABB-4C32-8753-61F07A14DCD6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3"/>
            </p:custDataLst>
          </p:nvPr>
        </p:nvSpPr>
        <p:spPr bwMode="gray">
          <a:xfrm>
            <a:off x="242607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4B022C8-42B2-40FA-B071-0A7A19AFB32A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4"/>
            </p:custDataLst>
          </p:nvPr>
        </p:nvSpPr>
        <p:spPr>
          <a:xfrm>
            <a:off x="2421505" y="1706564"/>
            <a:ext cx="2094933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CBD7190-0E3D-43D7-B452-03535D63CEEC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5"/>
            </p:custDataLst>
          </p:nvPr>
        </p:nvSpPr>
        <p:spPr bwMode="gray">
          <a:xfrm>
            <a:off x="456349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8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Bildplatzhalter 14">
            <a:extLst>
              <a:ext uri="{FF2B5EF4-FFF2-40B4-BE49-F238E27FC236}">
                <a16:creationId xmlns:a16="http://schemas.microsoft.com/office/drawing/2014/main" id="{A4B82496-48B6-4510-A20D-92B477D9753A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6"/>
            </p:custDataLst>
          </p:nvPr>
        </p:nvSpPr>
        <p:spPr>
          <a:xfrm>
            <a:off x="4625975" y="1706563"/>
            <a:ext cx="2066003" cy="11890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8D6F08-F111-47F1-B0EF-A0AFCE8D6B3B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7"/>
            </p:custDataLst>
          </p:nvPr>
        </p:nvSpPr>
        <p:spPr bwMode="gray">
          <a:xfrm>
            <a:off x="6691979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Bildplatzhalter 14">
            <a:extLst>
              <a:ext uri="{FF2B5EF4-FFF2-40B4-BE49-F238E27FC236}">
                <a16:creationId xmlns:a16="http://schemas.microsoft.com/office/drawing/2014/main" id="{9A91AA26-8914-41BD-89E6-BA30FABCEAD5}"/>
              </a:ext>
            </a:extLst>
          </p:cNvPr>
          <p:cNvSpPr>
            <a:spLocks noGrp="1"/>
          </p:cNvSpPr>
          <p:nvPr>
            <p:ph type="pic" sz="quarter" idx="48" hasCustomPrompt="1"/>
            <p:custDataLst>
              <p:tags r:id="rId8"/>
            </p:custDataLst>
          </p:nvPr>
        </p:nvSpPr>
        <p:spPr>
          <a:xfrm>
            <a:off x="6804026" y="1706564"/>
            <a:ext cx="2052638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2A2A989-8E90-76EF-5CAB-C06C127A0F73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49B0052-2555-FBD6-5DFF-B03CE583D99C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4F1CA20-2920-6BB6-603B-EE4BF4ED7B2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008DE35C-7FAA-E7A1-12C6-E04C74A0A0D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A9734B69-7ADD-8F77-A8D9-0C4A8109C46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42150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67BCF610-04A3-F889-405F-8DA944E1493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62597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13239356-2DB2-5273-AA18-C41B0AA20B9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04025" y="3060001"/>
            <a:ext cx="1836000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E9E8E9B5-976E-FB38-A880-1C67E03049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BB1090E4-9EF5-AC31-318D-D5E92F8EF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0328102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4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4E46AC-30C9-EFD9-1C46-BD71F11D50D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8" y="1203325"/>
            <a:ext cx="2232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4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0E1D4144-6ABB-4C32-8753-61F07A14DCD6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242607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DCBD7190-0E3D-43D7-B452-03535D63CEEC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3"/>
            </p:custDataLst>
          </p:nvPr>
        </p:nvSpPr>
        <p:spPr bwMode="gray">
          <a:xfrm>
            <a:off x="4563494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8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8D6F08-F111-47F1-B0EF-A0AFCE8D6B3B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4"/>
            </p:custDataLst>
          </p:nvPr>
        </p:nvSpPr>
        <p:spPr bwMode="gray">
          <a:xfrm>
            <a:off x="6691979" y="1203325"/>
            <a:ext cx="2232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2A2A989-8E90-76EF-5CAB-C06C127A0F73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449B0052-2555-FBD6-5DFF-B03CE583D99C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4F1CA20-2920-6BB6-603B-EE4BF4ED7B2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A5590BEC-534A-8F7D-C28E-2D505305C42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7335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13C44415-5087-77D7-FFCC-CCBCF36EC8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426074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FE83D65-6BB9-2729-A88C-E8B308840B8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25975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9CC74EDB-7BF1-FD19-F20C-C1305FE6999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25876" y="1764001"/>
            <a:ext cx="1836000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55D5BDF2-AAF5-413D-DDC5-C7E785E1B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83F12F80-AEE5-A506-A373-DAA13B05E7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39675995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696395-085D-5C31-DACF-C710AD9A66D6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5" y="1203325"/>
            <a:ext cx="1800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3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0D33E86D-AD2D-CE47-9A18-BC79EFFCA7CC}"/>
              </a:ext>
            </a:extLst>
          </p:cNvPr>
          <p:cNvSpPr>
            <a:spLocks noGrp="1"/>
          </p:cNvSpPr>
          <p:nvPr>
            <p:ph type="pic" sz="quarter" idx="23" hasCustomPrompt="1"/>
            <p:custDataLst>
              <p:tags r:id="rId2"/>
            </p:custDataLst>
          </p:nvPr>
        </p:nvSpPr>
        <p:spPr>
          <a:xfrm>
            <a:off x="287336" y="1706564"/>
            <a:ext cx="158433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8C15C38-3471-4D96-8DDA-743742178EB0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3"/>
            </p:custDataLst>
          </p:nvPr>
        </p:nvSpPr>
        <p:spPr bwMode="gray">
          <a:xfrm>
            <a:off x="2001236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4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Bildplatzhalter 14">
            <a:extLst>
              <a:ext uri="{FF2B5EF4-FFF2-40B4-BE49-F238E27FC236}">
                <a16:creationId xmlns:a16="http://schemas.microsoft.com/office/drawing/2014/main" id="{AC54750A-3041-479B-94C0-F4C281042279}"/>
              </a:ext>
            </a:extLst>
          </p:cNvPr>
          <p:cNvSpPr>
            <a:spLocks noGrp="1"/>
          </p:cNvSpPr>
          <p:nvPr>
            <p:ph type="pic" sz="quarter" idx="24" hasCustomPrompt="1"/>
            <p:custDataLst>
              <p:tags r:id="rId4"/>
            </p:custDataLst>
          </p:nvPr>
        </p:nvSpPr>
        <p:spPr>
          <a:xfrm>
            <a:off x="2044528" y="1706564"/>
            <a:ext cx="158805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FA12E6-F082-4319-8356-28FDC4C0A77A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5"/>
            </p:custDataLst>
          </p:nvPr>
        </p:nvSpPr>
        <p:spPr bwMode="gray">
          <a:xfrm>
            <a:off x="3708354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5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Bildplatzhalter 14">
            <a:extLst>
              <a:ext uri="{FF2B5EF4-FFF2-40B4-BE49-F238E27FC236}">
                <a16:creationId xmlns:a16="http://schemas.microsoft.com/office/drawing/2014/main" id="{E1816455-AB7E-4BB4-931E-D118AFA994C2}"/>
              </a:ext>
            </a:extLst>
          </p:cNvPr>
          <p:cNvSpPr>
            <a:spLocks noGrp="1"/>
          </p:cNvSpPr>
          <p:nvPr>
            <p:ph type="pic" sz="quarter" idx="45" hasCustomPrompt="1"/>
            <p:custDataLst>
              <p:tags r:id="rId6"/>
            </p:custDataLst>
          </p:nvPr>
        </p:nvSpPr>
        <p:spPr>
          <a:xfrm>
            <a:off x="3801237" y="1706564"/>
            <a:ext cx="1588054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3E3C558E-65F4-4448-A35E-B2858F03B6F5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7"/>
            </p:custDataLst>
          </p:nvPr>
        </p:nvSpPr>
        <p:spPr bwMode="gray">
          <a:xfrm>
            <a:off x="7128171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Bildplatzhalter 14">
            <a:extLst>
              <a:ext uri="{FF2B5EF4-FFF2-40B4-BE49-F238E27FC236}">
                <a16:creationId xmlns:a16="http://schemas.microsoft.com/office/drawing/2014/main" id="{220A2763-62C4-4F81-8DF6-8C0B4BCBAB85}"/>
              </a:ext>
            </a:extLst>
          </p:cNvPr>
          <p:cNvSpPr>
            <a:spLocks noGrp="1"/>
          </p:cNvSpPr>
          <p:nvPr>
            <p:ph type="pic" sz="quarter" idx="48" hasCustomPrompt="1"/>
            <p:custDataLst>
              <p:tags r:id="rId8"/>
            </p:custDataLst>
          </p:nvPr>
        </p:nvSpPr>
        <p:spPr>
          <a:xfrm>
            <a:off x="7303055" y="1706564"/>
            <a:ext cx="1553607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54F06380-3296-492E-9C6A-C8F6EC7A58EF}"/>
              </a:ext>
            </a:extLst>
          </p:cNvPr>
          <p:cNvSpPr>
            <a:spLocks noGrp="1"/>
          </p:cNvSpPr>
          <p:nvPr>
            <p:ph type="body" sz="quarter" idx="50"/>
            <p:custDataLst>
              <p:tags r:id="rId9"/>
            </p:custDataLst>
          </p:nvPr>
        </p:nvSpPr>
        <p:spPr bwMode="gray">
          <a:xfrm>
            <a:off x="5419925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9" name="Bildplatzhalter 14">
            <a:extLst>
              <a:ext uri="{FF2B5EF4-FFF2-40B4-BE49-F238E27FC236}">
                <a16:creationId xmlns:a16="http://schemas.microsoft.com/office/drawing/2014/main" id="{23638CCB-041E-44B4-9A72-68D960DB25CD}"/>
              </a:ext>
            </a:extLst>
          </p:cNvPr>
          <p:cNvSpPr>
            <a:spLocks noGrp="1"/>
          </p:cNvSpPr>
          <p:nvPr>
            <p:ph type="pic" sz="quarter" idx="51" hasCustomPrompt="1"/>
            <p:custDataLst>
              <p:tags r:id="rId10"/>
            </p:custDataLst>
          </p:nvPr>
        </p:nvSpPr>
        <p:spPr>
          <a:xfrm>
            <a:off x="5556880" y="1706564"/>
            <a:ext cx="1578585" cy="1189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A456DDB-17DD-EF7A-42A2-92368112EE54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F0F9D90-7A93-F621-83C4-4843ECAD9EF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CC29166-B1B1-749E-93AD-E0993A14C198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A14EE704-B5FB-AB32-2F2F-6203DDE974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335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2C7717CC-9A81-5F6D-97D1-C4D2CED447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044528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01642409-1FFE-6036-4AF9-5BFD06FBEC8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801236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2A7F4E47-3A84-A7A8-7AB6-352AED9875A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556880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F22BF93A-4A33-0532-C092-70D26BD04F3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303055" y="3060001"/>
            <a:ext cx="1523018" cy="136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60C77E45-1EBC-F577-D528-039B12686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9F910CAD-66C7-C61B-A219-1B3401233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4084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6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0" y="2977692"/>
            <a:ext cx="5976936" cy="498712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3569147"/>
            <a:ext cx="5976936" cy="498712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794782"/>
            <a:ext cx="5976936" cy="498712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386237"/>
            <a:ext cx="5976936" cy="498712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9191"/>
            <a:ext cx="5976936" cy="498712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BCF280D2-4597-63D5-F127-A221FECEFCF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4160602"/>
            <a:ext cx="5976936" cy="498712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6544AB88-A208-B4DC-0E46-610257586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54422BF1-25FB-3AE6-175B-00D0E60D13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7" name="Grafik 6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D43040E9-E2B6-FF06-3218-E7048E58FF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050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5 phase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696395-085D-5C31-DACF-C710AD9A66D6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78A24DFA-9FE0-5F46-BE9A-63FA5CD0B86D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 bwMode="gray">
          <a:xfrm>
            <a:off x="287335" y="1203325"/>
            <a:ext cx="1800000" cy="431800"/>
          </a:xfrm>
          <a:prstGeom prst="homePlate">
            <a:avLst>
              <a:gd name="adj" fmla="val 34764"/>
            </a:avLst>
          </a:prstGeom>
          <a:solidFill>
            <a:schemeClr val="tx2">
              <a:alpha val="3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8C15C38-3471-4D96-8DDA-743742178EB0}"/>
              </a:ext>
            </a:extLst>
          </p:cNvPr>
          <p:cNvSpPr>
            <a:spLocks noGrp="1"/>
          </p:cNvSpPr>
          <p:nvPr>
            <p:ph type="body" sz="quarter" idx="35"/>
            <p:custDataLst>
              <p:tags r:id="rId2"/>
            </p:custDataLst>
          </p:nvPr>
        </p:nvSpPr>
        <p:spPr bwMode="gray">
          <a:xfrm>
            <a:off x="2001236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4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FA12E6-F082-4319-8356-28FDC4C0A77A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3"/>
            </p:custDataLst>
          </p:nvPr>
        </p:nvSpPr>
        <p:spPr bwMode="gray">
          <a:xfrm>
            <a:off x="3708354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5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3E3C558E-65F4-4448-A35E-B2858F03B6F5}"/>
              </a:ext>
            </a:extLst>
          </p:cNvPr>
          <p:cNvSpPr>
            <a:spLocks noGrp="1"/>
          </p:cNvSpPr>
          <p:nvPr>
            <p:ph type="body" sz="quarter" idx="47"/>
            <p:custDataLst>
              <p:tags r:id="rId4"/>
            </p:custDataLst>
          </p:nvPr>
        </p:nvSpPr>
        <p:spPr bwMode="gray">
          <a:xfrm>
            <a:off x="7128171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54F06380-3296-492E-9C6A-C8F6EC7A58EF}"/>
              </a:ext>
            </a:extLst>
          </p:cNvPr>
          <p:cNvSpPr>
            <a:spLocks noGrp="1"/>
          </p:cNvSpPr>
          <p:nvPr>
            <p:ph type="body" sz="quarter" idx="50"/>
            <p:custDataLst>
              <p:tags r:id="rId5"/>
            </p:custDataLst>
          </p:nvPr>
        </p:nvSpPr>
        <p:spPr bwMode="gray">
          <a:xfrm>
            <a:off x="5419925" y="1203325"/>
            <a:ext cx="1800000" cy="431800"/>
          </a:xfrm>
          <a:prstGeom prst="chevron">
            <a:avLst>
              <a:gd name="adj" fmla="val 35661"/>
            </a:avLst>
          </a:prstGeom>
          <a:solidFill>
            <a:schemeClr val="tx2">
              <a:alpha val="65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144000" tIns="0" rIns="36000" bIns="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lang="de-AT" sz="1100" b="1" cap="none" baseline="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A456DDB-17DD-EF7A-42A2-92368112EE54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F0F9D90-7A93-F621-83C4-4843ECAD9EF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CC29166-B1B1-749E-93AD-E0993A14C198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EF4C9D9-1E0A-5DE1-D23F-92BEB357A85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733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620896C3-74FB-65FE-8AD2-305092ED925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044043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212084B9-40F0-7366-594E-900BAB84C56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81070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25291E66-58B4-F07E-07A9-0E3950D815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63605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655D88AF-BBBB-7CE6-2E3F-88516DB4FA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2524" y="1764001"/>
            <a:ext cx="1534036" cy="2628000"/>
          </a:xfrm>
        </p:spPr>
        <p:txBody>
          <a:bodyPr l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US" noProof="0"/>
              <a:t>Edit master text format</a:t>
            </a:r>
            <a:endParaRPr lang="en-US"/>
          </a:p>
        </p:txBody>
      </p:sp>
      <p:sp>
        <p:nvSpPr>
          <p:cNvPr id="5" name="Titel 11">
            <a:extLst>
              <a:ext uri="{FF2B5EF4-FFF2-40B4-BE49-F238E27FC236}">
                <a16:creationId xmlns:a16="http://schemas.microsoft.com/office/drawing/2014/main" id="{1D2C1BF7-93CB-7E3A-94CB-71ED45347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94E5BFC-D622-69EB-E149-C16655E74A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703459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process - bulletpoints -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05517341-621C-D866-07A9-4615AF3C6489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D5B975A-2098-DB44-BD67-F370F7357289}"/>
              </a:ext>
            </a:extLst>
          </p:cNvPr>
          <p:cNvSpPr>
            <a:spLocks noGrp="1"/>
          </p:cNvSpPr>
          <p:nvPr>
            <p:ph type="body" sz="quarter" idx="41" hasCustomPrompt="1"/>
            <p:custDataLst>
              <p:tags r:id="rId1"/>
            </p:custDataLst>
          </p:nvPr>
        </p:nvSpPr>
        <p:spPr>
          <a:xfrm>
            <a:off x="762935" y="155611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98291036-AD06-2669-60DF-E92B18A90C2F}"/>
              </a:ext>
            </a:extLst>
          </p:cNvPr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443873B2-4BC2-872F-CC99-DBB7DC4FBB6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B006BA99-5C67-8B7B-AEED-3857FF4D26A3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Bildplatzhalter 4">
            <a:extLst>
              <a:ext uri="{FF2B5EF4-FFF2-40B4-BE49-F238E27FC236}">
                <a16:creationId xmlns:a16="http://schemas.microsoft.com/office/drawing/2014/main" id="{00927770-0F52-1E71-EA8A-25718B045357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4625976" y="1199034"/>
            <a:ext cx="4518024" cy="3460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D4A08535-39A8-6F7C-4C9A-AC56E18ACE4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3"/>
            </p:custDataLst>
          </p:nvPr>
        </p:nvSpPr>
        <p:spPr>
          <a:xfrm>
            <a:off x="762935" y="202996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35B7EFEB-7C22-5DD0-77CD-72CE0D04F2E8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4"/>
            </p:custDataLst>
          </p:nvPr>
        </p:nvSpPr>
        <p:spPr>
          <a:xfrm>
            <a:off x="762935" y="2503812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1A15452E-0182-D25E-E827-63ABF86712E1}"/>
              </a:ext>
            </a:extLst>
          </p:cNvPr>
          <p:cNvSpPr>
            <a:spLocks noGrp="1"/>
          </p:cNvSpPr>
          <p:nvPr>
            <p:ph type="body" sz="quarter" idx="52" hasCustomPrompt="1"/>
            <p:custDataLst>
              <p:tags r:id="rId5"/>
            </p:custDataLst>
          </p:nvPr>
        </p:nvSpPr>
        <p:spPr>
          <a:xfrm>
            <a:off x="762935" y="2977325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47724EA4-B150-27B7-3960-4ECFDFE85087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6"/>
            </p:custDataLst>
          </p:nvPr>
        </p:nvSpPr>
        <p:spPr>
          <a:xfrm>
            <a:off x="762935" y="3450838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97ADD304-2D6E-BAE1-306D-74A08454E3A2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7"/>
            </p:custDataLst>
          </p:nvPr>
        </p:nvSpPr>
        <p:spPr>
          <a:xfrm>
            <a:off x="762935" y="3927517"/>
            <a:ext cx="3477595" cy="360000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lIns="10800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1" baseline="0"/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41" name="Onlinebild-Platzhalter 10">
            <a:extLst>
              <a:ext uri="{FF2B5EF4-FFF2-40B4-BE49-F238E27FC236}">
                <a16:creationId xmlns:a16="http://schemas.microsoft.com/office/drawing/2014/main" id="{472F9CCD-0118-2705-D58E-7A860064EA10}"/>
              </a:ext>
            </a:extLst>
          </p:cNvPr>
          <p:cNvSpPr>
            <a:spLocks noGrp="1"/>
          </p:cNvSpPr>
          <p:nvPr>
            <p:ph type="clipArt" sz="quarter" idx="60" hasCustomPrompt="1"/>
            <p:custDataLst>
              <p:tags r:id="rId8"/>
            </p:custDataLst>
          </p:nvPr>
        </p:nvSpPr>
        <p:spPr>
          <a:xfrm>
            <a:off x="297227" y="1556112"/>
            <a:ext cx="360000" cy="360000"/>
          </a:xfrm>
          <a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2" name="Onlinebild-Platzhalter 10">
            <a:extLst>
              <a:ext uri="{FF2B5EF4-FFF2-40B4-BE49-F238E27FC236}">
                <a16:creationId xmlns:a16="http://schemas.microsoft.com/office/drawing/2014/main" id="{5F2CC410-6798-1EEF-683D-C22394CA31FA}"/>
              </a:ext>
            </a:extLst>
          </p:cNvPr>
          <p:cNvSpPr>
            <a:spLocks noGrp="1"/>
          </p:cNvSpPr>
          <p:nvPr>
            <p:ph type="clipArt" sz="quarter" idx="61" hasCustomPrompt="1"/>
            <p:custDataLst>
              <p:tags r:id="rId9"/>
            </p:custDataLst>
          </p:nvPr>
        </p:nvSpPr>
        <p:spPr>
          <a:xfrm>
            <a:off x="297227" y="2029962"/>
            <a:ext cx="360000" cy="360000"/>
          </a:xfrm>
          <a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3" name="Onlinebild-Platzhalter 10">
            <a:extLst>
              <a:ext uri="{FF2B5EF4-FFF2-40B4-BE49-F238E27FC236}">
                <a16:creationId xmlns:a16="http://schemas.microsoft.com/office/drawing/2014/main" id="{8ED0DD0C-CAAB-2133-2441-ACE0179723C7}"/>
              </a:ext>
            </a:extLst>
          </p:cNvPr>
          <p:cNvSpPr>
            <a:spLocks noGrp="1"/>
          </p:cNvSpPr>
          <p:nvPr>
            <p:ph type="clipArt" sz="quarter" idx="62" hasCustomPrompt="1"/>
            <p:custDataLst>
              <p:tags r:id="rId10"/>
            </p:custDataLst>
          </p:nvPr>
        </p:nvSpPr>
        <p:spPr>
          <a:xfrm>
            <a:off x="297227" y="2503812"/>
            <a:ext cx="360000" cy="360000"/>
          </a:xfrm>
          <a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4" name="Onlinebild-Platzhalter 10">
            <a:extLst>
              <a:ext uri="{FF2B5EF4-FFF2-40B4-BE49-F238E27FC236}">
                <a16:creationId xmlns:a16="http://schemas.microsoft.com/office/drawing/2014/main" id="{7922064B-FF4B-A4AC-8B84-973FDCF14F05}"/>
              </a:ext>
            </a:extLst>
          </p:cNvPr>
          <p:cNvSpPr>
            <a:spLocks noGrp="1"/>
          </p:cNvSpPr>
          <p:nvPr>
            <p:ph type="clipArt" sz="quarter" idx="63" hasCustomPrompt="1"/>
            <p:custDataLst>
              <p:tags r:id="rId11"/>
            </p:custDataLst>
          </p:nvPr>
        </p:nvSpPr>
        <p:spPr>
          <a:xfrm>
            <a:off x="297227" y="2977325"/>
            <a:ext cx="360000" cy="360000"/>
          </a:xfrm>
          <a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5" name="Onlinebild-Platzhalter 10">
            <a:extLst>
              <a:ext uri="{FF2B5EF4-FFF2-40B4-BE49-F238E27FC236}">
                <a16:creationId xmlns:a16="http://schemas.microsoft.com/office/drawing/2014/main" id="{F6D72E2B-DBB8-8C37-484C-42597ABF99D4}"/>
              </a:ext>
            </a:extLst>
          </p:cNvPr>
          <p:cNvSpPr>
            <a:spLocks noGrp="1"/>
          </p:cNvSpPr>
          <p:nvPr>
            <p:ph type="clipArt" sz="quarter" idx="64" hasCustomPrompt="1"/>
            <p:custDataLst>
              <p:tags r:id="rId12"/>
            </p:custDataLst>
          </p:nvPr>
        </p:nvSpPr>
        <p:spPr>
          <a:xfrm>
            <a:off x="297227" y="3450838"/>
            <a:ext cx="360000" cy="360000"/>
          </a:xfrm>
          <a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6" name="Onlinebild-Platzhalter 10">
            <a:extLst>
              <a:ext uri="{FF2B5EF4-FFF2-40B4-BE49-F238E27FC236}">
                <a16:creationId xmlns:a16="http://schemas.microsoft.com/office/drawing/2014/main" id="{1B9D8D53-157C-B596-7775-1CDFFDBF48FB}"/>
              </a:ext>
            </a:extLst>
          </p:cNvPr>
          <p:cNvSpPr>
            <a:spLocks noGrp="1"/>
          </p:cNvSpPr>
          <p:nvPr>
            <p:ph type="clipArt" sz="quarter" idx="65" hasCustomPrompt="1"/>
            <p:custDataLst>
              <p:tags r:id="rId13"/>
            </p:custDataLst>
          </p:nvPr>
        </p:nvSpPr>
        <p:spPr>
          <a:xfrm>
            <a:off x="297227" y="3927517"/>
            <a:ext cx="360000" cy="360000"/>
          </a:xfrm>
          <a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" name="Titel 11">
            <a:extLst>
              <a:ext uri="{FF2B5EF4-FFF2-40B4-BE49-F238E27FC236}">
                <a16:creationId xmlns:a16="http://schemas.microsoft.com/office/drawing/2014/main" id="{AFDC0BBF-67BB-F45E-CAE5-C4CAD70D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84195880-0F11-219A-8398-C3D6C27EEF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2413803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-blank/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04CBD7EC-1B3C-0947-4C96-B5EC8A297D43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728000"/>
            <a:ext cx="8569326" cy="2931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9ECA101F-6608-4B88-EFA0-E7E1927267F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0" y="1203325"/>
            <a:ext cx="9144000" cy="288000"/>
          </a:xfrm>
          <a:solidFill>
            <a:schemeClr val="tx2"/>
          </a:solidFill>
        </p:spPr>
        <p:txBody>
          <a:bodyPr lIns="288000" anchor="ctr" anchorCtr="0"/>
          <a:lstStyle>
            <a:lvl1pPr marL="0" indent="0">
              <a:buNone/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07035696-D435-82A1-04B7-03558016AE56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94583314-25BA-ECD2-44ED-C21DB074D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60D1216E-81CE-9E0C-8E72-9E3110C90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18596154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-blank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87337" y="1203325"/>
            <a:ext cx="8569326" cy="345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359A7C6F-7D2D-3470-36A6-6107DE0E868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3578DCC-80F9-D9C9-CCB0-B30908B0416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928841B-C775-9056-9D8F-72C0A2E86C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F17889D-0D2F-553F-4245-B1BECE8C757B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6" y="4690633"/>
            <a:ext cx="5729289" cy="101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C2B2797E-EC7F-2373-FC1C-54053639F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5421AC16-C00D-F0D0-70FB-48D1881F5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</p:spTree>
    <p:extLst>
      <p:ext uri="{BB962C8B-B14F-4D97-AF65-F5344CB8AC3E}">
        <p14:creationId xmlns:p14="http://schemas.microsoft.com/office/powerpoint/2010/main" val="8947482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UP_blank">
    <p:bg>
      <p:bgPr>
        <a:solidFill>
          <a:srgbClr val="25212D">
            <a:alpha val="5882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75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75">
          <p15:clr>
            <a:srgbClr val="FBAE40"/>
          </p15:clr>
        </p15:guide>
        <p15:guide id="2" pos="38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7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EF63B0E3-C7BB-5FB1-A8DD-5DE4A3C30CE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" y="2723979"/>
            <a:ext cx="5976936" cy="421003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1C9CB4C-4B1E-230D-18E2-FA2833ACBA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0" y="3228693"/>
            <a:ext cx="5976936" cy="421003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6A3EC336-1D06-3256-F905-1A5330618EC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0" y="1709471"/>
            <a:ext cx="5976936" cy="421003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2BA6EE26-4201-0930-CE26-E69D346F02B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0" y="2214185"/>
            <a:ext cx="5976936" cy="421003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D853823A-D25B-C3DB-5698-1FB5824FA5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0" y="1209192"/>
            <a:ext cx="5976936" cy="421003"/>
          </a:xfrm>
          <a:solidFill>
            <a:schemeClr val="tx2"/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Zapf Dingbats"/>
              <a:buChar char="❯"/>
              <a:defRPr sz="1100" b="1" i="0" cap="all" baseline="0">
                <a:solidFill>
                  <a:schemeClr val="bg1"/>
                </a:solidFill>
              </a:defRPr>
            </a:lvl1pPr>
            <a:lvl2pPr marL="179995" indent="0">
              <a:buNone/>
              <a:defRPr/>
            </a:lvl2pPr>
          </a:lstStyle>
          <a:p>
            <a:pPr lvl="0"/>
            <a:r>
              <a:rPr lang="en-US" noProof="0"/>
              <a:t>Edit master title format</a:t>
            </a:r>
          </a:p>
        </p:txBody>
      </p:sp>
      <p:sp>
        <p:nvSpPr>
          <p:cNvPr id="3" name="Bildplatzhalter 4">
            <a:extLst>
              <a:ext uri="{FF2B5EF4-FFF2-40B4-BE49-F238E27FC236}">
                <a16:creationId xmlns:a16="http://schemas.microsoft.com/office/drawing/2014/main" id="{098CC537-29EC-DAD6-A8FB-2BDF76F40E19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6084888" y="1210522"/>
            <a:ext cx="3059112" cy="34487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BCF280D2-4597-63D5-F127-A221FECEFCF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0" y="3733863"/>
            <a:ext cx="5976936" cy="421003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9CE0CECC-2789-E58E-8376-A9EBF4318CA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0" y="4238310"/>
            <a:ext cx="5976936" cy="421003"/>
          </a:xfrm>
          <a:solidFill>
            <a:schemeClr val="tx2">
              <a:alpha val="20000"/>
            </a:schemeClr>
          </a:solidFill>
        </p:spPr>
        <p:txBody>
          <a:bodyPr lIns="288000" anchor="ctr" anchorCtr="0"/>
          <a:lstStyle>
            <a:lvl1pPr marL="179384" indent="-179384">
              <a:lnSpc>
                <a:spcPct val="90000"/>
              </a:lnSpc>
              <a:spcBef>
                <a:spcPts val="0"/>
              </a:spcBef>
              <a:buSzPct val="100000"/>
              <a:buFont typeface="Zapf Dingbats"/>
              <a:buChar char="❯"/>
              <a:defRPr sz="1100" cap="all" baseline="0"/>
            </a:lvl1pPr>
            <a:lvl2pPr marL="179995" indent="0">
              <a:buNone/>
              <a:defRPr/>
            </a:lvl2pPr>
          </a:lstStyle>
          <a:p>
            <a:pPr marL="179384" marR="0" lvl="0" indent="-179384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40000"/>
              <a:buFont typeface="Open Sans" panose="020B0606030504020204" pitchFamily="34" charset="0"/>
              <a:buChar char="›"/>
              <a:tabLst/>
              <a:defRPr/>
            </a:pPr>
            <a:r>
              <a:rPr lang="en-US" noProof="0"/>
              <a:t>Edit master title format</a:t>
            </a:r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5A508857-E39D-66C1-DB06-27CA55707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39CBA3FC-0304-81BF-5EA7-C99BDA4C22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9" name="Grafik 8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BAA988C8-F499-943E-5881-8522EC2185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435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chapter marker -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1D460C0-C975-A145-A9C6-FF847652D0DE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0" y="1203325"/>
            <a:ext cx="9144000" cy="3455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D5C8D6-71AD-F000-FC8C-C8C26817E1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0758D9C-26C9-E447-6A61-1C6842BEE7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4B293A91-CFC9-B11F-2108-6F0EBDD8AFCA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2"/>
            </p:custDataLst>
          </p:nvPr>
        </p:nvSpPr>
        <p:spPr>
          <a:xfrm>
            <a:off x="287337" y="4690633"/>
            <a:ext cx="3357293" cy="1510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700" i="1"/>
            </a:lvl1pPr>
            <a:lvl2pPr marL="271455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01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34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6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el 11">
            <a:extLst>
              <a:ext uri="{FF2B5EF4-FFF2-40B4-BE49-F238E27FC236}">
                <a16:creationId xmlns:a16="http://schemas.microsoft.com/office/drawing/2014/main" id="{5C34B7D9-8A65-F678-E8FD-FEB07B434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9C1E3F5B-EFF3-DEB6-3EB5-24050ACF1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2" name="Grafik 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D01B7B49-F32A-25ED-21FB-8EFC54C0F8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65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table of contents 2/3 –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25965CC-882B-EB99-3171-41D5A44C2BA3}"/>
              </a:ext>
            </a:extLst>
          </p:cNvPr>
          <p:cNvSpPr/>
          <p:nvPr userDrawn="1"/>
        </p:nvSpPr>
        <p:spPr>
          <a:xfrm>
            <a:off x="0" y="1203325"/>
            <a:ext cx="5986464" cy="3455988"/>
          </a:xfrm>
          <a:prstGeom prst="rect">
            <a:avLst/>
          </a:prstGeom>
          <a:solidFill>
            <a:schemeClr val="tx2">
              <a:alpha val="1976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E355803-B73C-89B4-1E44-3706303055D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87338" y="1440000"/>
            <a:ext cx="5403778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BA33B33-6B72-36A6-029F-B3FCA821209A}"/>
              </a:ext>
            </a:extLst>
          </p:cNvPr>
          <p:cNvSpPr>
            <a:spLocks noGrp="1"/>
          </p:cNvSpPr>
          <p:nvPr>
            <p:ph type="pic" sz="quarter" idx="20" hasCustomPrompt="1"/>
            <p:custDataLst>
              <p:tags r:id="rId2"/>
            </p:custDataLst>
          </p:nvPr>
        </p:nvSpPr>
        <p:spPr>
          <a:xfrm>
            <a:off x="6084888" y="1198800"/>
            <a:ext cx="3059112" cy="34602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Add image by clicking icon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318F65BD-5605-D006-B048-4870850DB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F849D8C4-7DBF-1CD7-B03A-F8FBEB81BD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4" name="Grafik 3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009B5A81-6B00-2E19-87BE-A24BAD7828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67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-table of contents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4F2F50-267D-D6B0-A36B-5B926331541C}"/>
              </a:ext>
            </a:extLst>
          </p:cNvPr>
          <p:cNvSpPr/>
          <p:nvPr userDrawn="1"/>
        </p:nvSpPr>
        <p:spPr>
          <a:xfrm>
            <a:off x="0" y="1203325"/>
            <a:ext cx="9144000" cy="3455988"/>
          </a:xfrm>
          <a:prstGeom prst="rect">
            <a:avLst/>
          </a:prstGeom>
          <a:solidFill>
            <a:schemeClr val="tx2">
              <a:alpha val="1976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7FACC4DC-0893-2A53-0A1C-EA194F64949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4F55F5E-25B4-FA6B-344E-69F1E8925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E355803-B73C-89B4-1E44-3706303055D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287338" y="1440000"/>
            <a:ext cx="4032000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DB2A2EA7-8A21-FEF5-BE1F-502CD5ECC03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4824000" y="1440000"/>
            <a:ext cx="4032000" cy="2988699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ts val="1300"/>
              </a:lnSpc>
              <a:spcBef>
                <a:spcPts val="800"/>
              </a:spcBef>
              <a:buFont typeface="+mj-lt"/>
              <a:buNone/>
              <a:tabLst>
                <a:tab pos="8162721" algn="r"/>
              </a:tabLst>
              <a:defRPr sz="900" b="1" i="0" u="none" cap="all" baseline="0"/>
            </a:lvl1pPr>
            <a:lvl2pPr marL="266693" indent="0">
              <a:lnSpc>
                <a:spcPts val="1100"/>
              </a:lnSpc>
              <a:spcBef>
                <a:spcPts val="100"/>
              </a:spcBef>
              <a:buNone/>
              <a:tabLst>
                <a:tab pos="8162721" algn="r"/>
              </a:tabLst>
              <a:defRPr sz="900" u="none" baseline="0">
                <a:latin typeface="+mj-lt"/>
              </a:defRPr>
            </a:lvl2pPr>
            <a:lvl3pPr marL="360353" indent="0">
              <a:buNone/>
              <a:defRPr/>
            </a:lvl3pPr>
            <a:lvl4pPr marL="539987" indent="0">
              <a:buNone/>
              <a:defRPr/>
            </a:lvl4pPr>
            <a:lvl5pPr marL="719982" indent="0">
              <a:buNone/>
              <a:defRPr/>
            </a:lvl5pPr>
          </a:lstStyle>
          <a:p>
            <a:pPr lvl="0"/>
            <a:r>
              <a:rPr lang="en-US" noProof="0"/>
              <a:t>Edit master title format	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  <a:p>
            <a:pPr lvl="1"/>
            <a:r>
              <a:rPr lang="en-US" noProof="0"/>
              <a:t>Third level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A16D7A1E-3DB6-CDA6-0656-626639E2C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9" y="504000"/>
            <a:ext cx="7169149" cy="442622"/>
          </a:xfrm>
        </p:spPr>
        <p:txBody>
          <a:bodyPr/>
          <a:lstStyle/>
          <a:p>
            <a:r>
              <a:rPr lang="en-US" noProof="0"/>
              <a:t>Edit master title format</a:t>
            </a:r>
            <a:br>
              <a:rPr lang="en-US" noProof="0"/>
            </a:br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74B0D8D6-E23B-362B-2020-80961514D4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16000"/>
            <a:ext cx="7169150" cy="181930"/>
          </a:xfrm>
        </p:spPr>
        <p:txBody>
          <a:bodyPr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Edit master title format</a:t>
            </a:r>
          </a:p>
        </p:txBody>
      </p:sp>
      <p:pic>
        <p:nvPicPr>
          <p:cNvPr id="9" name="Grafik 8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8B412AAF-6B75-9453-7E92-E9F645DC30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9615" y="4768557"/>
            <a:ext cx="1444769" cy="27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1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56"/>
            </p:custDataLst>
          </p:nvPr>
        </p:nvSpPr>
        <p:spPr>
          <a:xfrm>
            <a:off x="287337" y="4911725"/>
            <a:ext cx="1290638" cy="15104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 b="0" i="0" baseline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fld id="{84AABDCB-D764-480A-A27A-A78EF7FA0ED5}" type="datetime1">
              <a:rPr lang="en-US" noProof="0" smtClean="0"/>
              <a:pPr/>
              <a:t>1/23/2026</a:t>
            </a:fld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7"/>
            </p:custDataLst>
          </p:nvPr>
        </p:nvSpPr>
        <p:spPr>
          <a:xfrm>
            <a:off x="8351838" y="4911725"/>
            <a:ext cx="504825" cy="15104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 b="0" i="0" baseline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fld id="{B60C4007-1C36-BD4C-B7E8-11061F6EFA14}" type="slidenum">
              <a:rPr lang="en-US" noProof="0" smtClean="0"/>
              <a:pPr/>
              <a:t>‹N›</a:t>
            </a:fld>
            <a:endParaRPr lang="en-US" noProof="0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E39B4BCD-51B9-4580-B1F3-0A98E9FEF5FD}"/>
              </a:ext>
            </a:extLst>
          </p:cNvPr>
          <p:cNvSpPr>
            <a:spLocks noGrp="1"/>
          </p:cNvSpPr>
          <p:nvPr>
            <p:ph type="body" idx="1"/>
            <p:custDataLst>
              <p:tags r:id="rId58"/>
            </p:custDataLst>
          </p:nvPr>
        </p:nvSpPr>
        <p:spPr>
          <a:xfrm>
            <a:off x="287337" y="1440000"/>
            <a:ext cx="8569326" cy="28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F93CC77-C555-9877-FA56-12F0F79F3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659313"/>
            <a:ext cx="3086100" cy="484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13877E8-6D74-1086-CCD5-86280D5B0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504000"/>
            <a:ext cx="7169149" cy="4426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Edit Master Title Format</a:t>
            </a:r>
            <a:endParaRPr lang="en-US"/>
          </a:p>
        </p:txBody>
      </p:sp>
      <p:pic>
        <p:nvPicPr>
          <p:cNvPr id="8" name="Grafik 7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800D0644-D5EF-594E-90BB-EEFB175C76CA}"/>
              </a:ext>
            </a:extLst>
          </p:cNvPr>
          <p:cNvPicPr>
            <a:picLocks noChangeAspect="1"/>
          </p:cNvPicPr>
          <p:nvPr userDrawn="1"/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636" y="192469"/>
            <a:ext cx="1221414" cy="228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1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77" r:id="rId2"/>
    <p:sldLayoutId id="2147483873" r:id="rId3"/>
    <p:sldLayoutId id="2147483878" r:id="rId4"/>
    <p:sldLayoutId id="2147483879" r:id="rId5"/>
    <p:sldLayoutId id="2147483880" r:id="rId6"/>
    <p:sldLayoutId id="2147483827" r:id="rId7"/>
    <p:sldLayoutId id="2147483826" r:id="rId8"/>
    <p:sldLayoutId id="2147483876" r:id="rId9"/>
    <p:sldLayoutId id="2147483882" r:id="rId10"/>
    <p:sldLayoutId id="2147483872" r:id="rId11"/>
    <p:sldLayoutId id="2147483874" r:id="rId12"/>
    <p:sldLayoutId id="2147483883" r:id="rId13"/>
    <p:sldLayoutId id="2147483875" r:id="rId14"/>
    <p:sldLayoutId id="2147483881" r:id="rId15"/>
    <p:sldLayoutId id="2147483892" r:id="rId16"/>
    <p:sldLayoutId id="2147483835" r:id="rId17"/>
    <p:sldLayoutId id="2147483884" r:id="rId18"/>
    <p:sldLayoutId id="2147483834" r:id="rId19"/>
    <p:sldLayoutId id="2147483885" r:id="rId20"/>
    <p:sldLayoutId id="2147483847" r:id="rId21"/>
    <p:sldLayoutId id="2147483902" r:id="rId22"/>
    <p:sldLayoutId id="2147483893" r:id="rId23"/>
    <p:sldLayoutId id="2147483864" r:id="rId24"/>
    <p:sldLayoutId id="2147483865" r:id="rId25"/>
    <p:sldLayoutId id="2147483849" r:id="rId26"/>
    <p:sldLayoutId id="2147483866" r:id="rId27"/>
    <p:sldLayoutId id="2147483889" r:id="rId28"/>
    <p:sldLayoutId id="2147483888" r:id="rId29"/>
    <p:sldLayoutId id="2147483887" r:id="rId30"/>
    <p:sldLayoutId id="2147483897" r:id="rId31"/>
    <p:sldLayoutId id="2147483895" r:id="rId32"/>
    <p:sldLayoutId id="2147483898" r:id="rId33"/>
    <p:sldLayoutId id="2147483896" r:id="rId34"/>
    <p:sldLayoutId id="2147483899" r:id="rId35"/>
    <p:sldLayoutId id="2147483854" r:id="rId36"/>
    <p:sldLayoutId id="2147483853" r:id="rId37"/>
    <p:sldLayoutId id="2147483858" r:id="rId38"/>
    <p:sldLayoutId id="2147483890" r:id="rId39"/>
    <p:sldLayoutId id="2147483859" r:id="rId40"/>
    <p:sldLayoutId id="2147483891" r:id="rId41"/>
    <p:sldLayoutId id="2147483894" r:id="rId42"/>
    <p:sldLayoutId id="2147483900" r:id="rId43"/>
    <p:sldLayoutId id="2147483901" r:id="rId44"/>
    <p:sldLayoutId id="2147483867" r:id="rId45"/>
    <p:sldLayoutId id="2147483903" r:id="rId46"/>
    <p:sldLayoutId id="2147483868" r:id="rId47"/>
    <p:sldLayoutId id="2147483904" r:id="rId48"/>
    <p:sldLayoutId id="2147483869" r:id="rId49"/>
    <p:sldLayoutId id="2147483905" r:id="rId50"/>
    <p:sldLayoutId id="2147483863" r:id="rId51"/>
    <p:sldLayoutId id="2147483886" r:id="rId52"/>
    <p:sldLayoutId id="2147483906" r:id="rId53"/>
    <p:sldLayoutId id="2147483912" r:id="rId54"/>
  </p:sldLayoutIdLst>
  <p:hf hdr="0" ftr="0"/>
  <p:txStyles>
    <p:titleStyle>
      <a:lvl1pPr algn="l" defTabSz="685783" rtl="0" eaLnBrk="1" latinLnBrk="0" hangingPunct="1">
        <a:lnSpc>
          <a:spcPts val="2000"/>
        </a:lnSpc>
        <a:spcBef>
          <a:spcPct val="0"/>
        </a:spcBef>
        <a:buNone/>
        <a:defRPr sz="2000" b="1" i="0" kern="1200" cap="all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4" indent="-179384" algn="l" defTabSz="685783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1100" kern="1200" baseline="0" dirty="0">
          <a:solidFill>
            <a:schemeClr val="tx2"/>
          </a:solidFill>
          <a:latin typeface="+mn-lt"/>
          <a:ea typeface="+mn-ea"/>
          <a:cs typeface="+mn-cs"/>
        </a:defRPr>
      </a:lvl1pPr>
      <a:lvl2pPr marL="323991" indent="-143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900" kern="1200" baseline="0" dirty="0">
          <a:solidFill>
            <a:schemeClr val="tx2"/>
          </a:solidFill>
          <a:latin typeface="+mn-lt"/>
          <a:ea typeface="+mn-ea"/>
          <a:cs typeface="+mn-cs"/>
        </a:defRPr>
      </a:lvl2pPr>
      <a:lvl3pPr marL="467737" indent="-107384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700" kern="1200" baseline="0" dirty="0">
          <a:solidFill>
            <a:schemeClr val="tx2"/>
          </a:solidFill>
          <a:latin typeface="+mn-lt"/>
          <a:ea typeface="+mn-ea"/>
          <a:cs typeface="+mn-cs"/>
        </a:defRPr>
      </a:lvl3pPr>
      <a:lvl4pPr marL="611982" indent="-71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de-DE" sz="500" kern="1200" baseline="0" dirty="0">
          <a:solidFill>
            <a:schemeClr val="tx2"/>
          </a:solidFill>
          <a:latin typeface="+mn-lt"/>
          <a:ea typeface="+mn-ea"/>
          <a:cs typeface="+mn-cs"/>
        </a:defRPr>
      </a:lvl4pPr>
      <a:lvl5pPr marL="899978" indent="-179996" algn="l" defTabSz="685783" rtl="0" eaLnBrk="1" latinLnBrk="0" hangingPunct="1">
        <a:lnSpc>
          <a:spcPct val="110000"/>
        </a:lnSpc>
        <a:spcBef>
          <a:spcPts val="400"/>
        </a:spcBef>
        <a:buClr>
          <a:schemeClr val="tx2"/>
        </a:buClr>
        <a:buSzPct val="140000"/>
        <a:buFont typeface="Open Sans" panose="020B0606030504020204" pitchFamily="34" charset="0"/>
        <a:buChar char="›"/>
        <a:tabLst/>
        <a:defRPr lang="en-US" sz="800" kern="1200" baseline="0" dirty="0">
          <a:solidFill>
            <a:schemeClr val="tx2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3" pos="2880" userDrawn="1">
          <p15:clr>
            <a:srgbClr val="A4A3A4"/>
          </p15:clr>
        </p15:guide>
        <p15:guide id="34" pos="5760" userDrawn="1">
          <p15:clr>
            <a:srgbClr val="F26B43"/>
          </p15:clr>
        </p15:guide>
        <p15:guide id="35" pos="181" userDrawn="1">
          <p15:clr>
            <a:srgbClr val="F26B43"/>
          </p15:clr>
        </p15:guide>
        <p15:guide id="38" pos="1927" userDrawn="1">
          <p15:clr>
            <a:srgbClr val="F26B43"/>
          </p15:clr>
        </p15:guide>
        <p15:guide id="39" pos="1995" userDrawn="1">
          <p15:clr>
            <a:srgbClr val="F26B43"/>
          </p15:clr>
        </p15:guide>
        <p15:guide id="40" pos="2845" userDrawn="1">
          <p15:clr>
            <a:srgbClr val="F26B43"/>
          </p15:clr>
        </p15:guide>
        <p15:guide id="41" pos="2914" userDrawn="1">
          <p15:clr>
            <a:srgbClr val="F26B43"/>
          </p15:clr>
        </p15:guide>
        <p15:guide id="42" pos="3765" userDrawn="1">
          <p15:clr>
            <a:srgbClr val="F26B43"/>
          </p15:clr>
        </p15:guide>
        <p15:guide id="43" pos="3833" userDrawn="1">
          <p15:clr>
            <a:srgbClr val="F26B43"/>
          </p15:clr>
        </p15:guide>
        <p15:guide id="46" pos="5579" userDrawn="1">
          <p15:clr>
            <a:srgbClr val="F26B43"/>
          </p15:clr>
        </p15:guide>
        <p15:guide id="47" orient="horz" pos="1620" userDrawn="1">
          <p15:clr>
            <a:srgbClr val="A4A3A4"/>
          </p15:clr>
        </p15:guide>
        <p15:guide id="48" orient="horz" pos="758" userDrawn="1">
          <p15:clr>
            <a:srgbClr val="F26B43"/>
          </p15:clr>
        </p15:guide>
        <p15:guide id="50" orient="horz" pos="1257" userDrawn="1">
          <p15:clr>
            <a:srgbClr val="F26B43"/>
          </p15:clr>
        </p15:guide>
        <p15:guide id="52" orient="horz" pos="1824" userDrawn="1">
          <p15:clr>
            <a:srgbClr val="F26B43"/>
          </p15:clr>
        </p15:guide>
        <p15:guide id="54" orient="horz" pos="2368" userDrawn="1">
          <p15:clr>
            <a:srgbClr val="F26B43"/>
          </p15:clr>
        </p15:guide>
        <p15:guide id="55" orient="horz" pos="2935" userDrawn="1">
          <p15:clr>
            <a:srgbClr val="F26B43"/>
          </p15:clr>
        </p15:guide>
        <p15:guide id="56" orient="horz" pos="599" userDrawn="1">
          <p15:clr>
            <a:srgbClr val="5ACBF0"/>
          </p15:clr>
        </p15:guide>
        <p15:guide id="57" orient="horz" pos="143" userDrawn="1">
          <p15:clr>
            <a:srgbClr val="5ACBF0"/>
          </p15:clr>
        </p15:guide>
        <p15:guide id="58" orient="horz" pos="3094" userDrawn="1">
          <p15:clr>
            <a:srgbClr val="5ACBF0"/>
          </p15:clr>
        </p15:guide>
        <p15:guide id="59" pos="1458" userDrawn="1">
          <p15:clr>
            <a:srgbClr val="5ACBF0"/>
          </p15:clr>
        </p15:guide>
        <p15:guide id="60" pos="1524" userDrawn="1">
          <p15:clr>
            <a:srgbClr val="5ACBF0"/>
          </p15:clr>
        </p15:guide>
        <p15:guide id="61" pos="4218" userDrawn="1">
          <p15:clr>
            <a:srgbClr val="5ACBF0"/>
          </p15:clr>
        </p15:guide>
        <p15:guide id="62" pos="4286" userDrawn="1">
          <p15:clr>
            <a:srgbClr val="5ACBF0"/>
          </p15:clr>
        </p15:guide>
        <p15:guide id="63" pos="5262" userDrawn="1">
          <p15:clr>
            <a:srgbClr val="5ACBF0"/>
          </p15:clr>
        </p15:guide>
        <p15:guide id="64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0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17.png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3.jpe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6.emf"/><Relationship Id="rId5" Type="http://schemas.openxmlformats.org/officeDocument/2006/relationships/image" Target="../media/image25.jpe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DC211-0E28-6383-94BF-FEE722887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magine 24" descr="Immagine che contiene nero, oscurità&#10;&#10;AI-generated content may be incorrect.">
            <a:extLst>
              <a:ext uri="{FF2B5EF4-FFF2-40B4-BE49-F238E27FC236}">
                <a16:creationId xmlns:a16="http://schemas.microsoft.com/office/drawing/2014/main" id="{BCD325A4-3FB6-3559-288F-B5579B963AD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5570" y="-24345"/>
            <a:ext cx="1880303" cy="657034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A1D8FE57-DE4D-6D29-AE93-BD42B5B5935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771676" y="1679897"/>
            <a:ext cx="3231829" cy="3231829"/>
          </a:xfrm>
          <a:prstGeom prst="flowChartConnector">
            <a:avLst/>
          </a:prstGeom>
        </p:spPr>
      </p:pic>
      <p:sp>
        <p:nvSpPr>
          <p:cNvPr id="17" name="Connettore 16">
            <a:extLst>
              <a:ext uri="{FF2B5EF4-FFF2-40B4-BE49-F238E27FC236}">
                <a16:creationId xmlns:a16="http://schemas.microsoft.com/office/drawing/2014/main" id="{06E7CD44-4888-5402-885D-9264975E4F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71951" y="2117756"/>
            <a:ext cx="1937407" cy="1966546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8DBB8651-87A6-F97B-415B-55137A9F42F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01350" y="2139083"/>
            <a:ext cx="1966544" cy="1966546"/>
            <a:chOff x="3829614" y="1034896"/>
            <a:chExt cx="1256674" cy="1256674"/>
          </a:xfrm>
        </p:grpSpPr>
        <p:sp>
          <p:nvSpPr>
            <p:cNvPr id="23" name="Connettore 22">
              <a:extLst>
                <a:ext uri="{FF2B5EF4-FFF2-40B4-BE49-F238E27FC236}">
                  <a16:creationId xmlns:a16="http://schemas.microsoft.com/office/drawing/2014/main" id="{648A7E4E-95AA-DF8E-615C-6A509FA3274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829614" y="1034896"/>
              <a:ext cx="1256674" cy="1256674"/>
            </a:xfrm>
            <a:prstGeom prst="flowChartConnector">
              <a:avLst/>
            </a:prstGeom>
            <a:solidFill>
              <a:srgbClr val="DF464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24" name="CasellaDiTesto 14">
              <a:extLst>
                <a:ext uri="{FF2B5EF4-FFF2-40B4-BE49-F238E27FC236}">
                  <a16:creationId xmlns:a16="http://schemas.microsoft.com/office/drawing/2014/main" id="{02CC05AA-3A8C-D5E8-AC2B-64D54102407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 bwMode="auto">
            <a:xfrm>
              <a:off x="3881306" y="1517852"/>
              <a:ext cx="1159026" cy="2360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/>
              <a:r>
                <a:rPr lang="en-US" sz="1800" err="1">
                  <a:solidFill>
                    <a:schemeClr val="bg1"/>
                  </a:solidFill>
                  <a:latin typeface="+mj-lt"/>
                </a:rPr>
                <a:t>Durabilità</a:t>
              </a:r>
              <a:endParaRPr lang="en-US" sz="180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3" name="Connettore 12">
            <a:extLst>
              <a:ext uri="{FF2B5EF4-FFF2-40B4-BE49-F238E27FC236}">
                <a16:creationId xmlns:a16="http://schemas.microsoft.com/office/drawing/2014/main" id="{B513B20F-455D-70D4-2942-12641EA2DF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176367" y="2796666"/>
            <a:ext cx="2112013" cy="2132018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39448D52-970E-3F6F-938E-151D4B8FEC6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2115922" y="2816385"/>
            <a:ext cx="2132228" cy="2132228"/>
            <a:chOff x="5830286" y="1595800"/>
            <a:chExt cx="1256674" cy="1256674"/>
          </a:xfrm>
        </p:grpSpPr>
        <p:sp>
          <p:nvSpPr>
            <p:cNvPr id="26" name="Connettore 25">
              <a:extLst>
                <a:ext uri="{FF2B5EF4-FFF2-40B4-BE49-F238E27FC236}">
                  <a16:creationId xmlns:a16="http://schemas.microsoft.com/office/drawing/2014/main" id="{040F3442-9754-A662-599B-093A41353C5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830286" y="1595800"/>
              <a:ext cx="1256674" cy="1256674"/>
            </a:xfrm>
            <a:prstGeom prst="flowChartConnector">
              <a:avLst/>
            </a:prstGeom>
            <a:solidFill>
              <a:srgbClr val="DF464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27" name="CasellaDiTesto 14">
              <a:extLst>
                <a:ext uri="{FF2B5EF4-FFF2-40B4-BE49-F238E27FC236}">
                  <a16:creationId xmlns:a16="http://schemas.microsoft.com/office/drawing/2014/main" id="{A5368571-D250-40A8-29BA-292AB7A2A27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 bwMode="auto">
            <a:xfrm>
              <a:off x="5891811" y="1997394"/>
              <a:ext cx="1159026" cy="3809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/>
              <a:r>
                <a:rPr lang="en-US" sz="1800" err="1">
                  <a:solidFill>
                    <a:schemeClr val="bg1"/>
                  </a:solidFill>
                  <a:latin typeface="+mj-lt"/>
                </a:rPr>
                <a:t>Continuità</a:t>
              </a:r>
              <a:endParaRPr lang="en-US" sz="1800">
                <a:solidFill>
                  <a:schemeClr val="bg1"/>
                </a:solidFill>
                <a:latin typeface="+mj-lt"/>
              </a:endParaRPr>
            </a:p>
            <a:p>
              <a:pPr algn="ctr" eaLnBrk="1" hangingPunct="1"/>
              <a:r>
                <a:rPr lang="en-US" sz="1800" err="1">
                  <a:solidFill>
                    <a:schemeClr val="bg1"/>
                  </a:solidFill>
                  <a:latin typeface="+mj-lt"/>
                </a:rPr>
                <a:t>prestazionale</a:t>
              </a:r>
              <a:endParaRPr lang="en-US" sz="180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6" name="Connettore 5">
            <a:extLst>
              <a:ext uri="{FF2B5EF4-FFF2-40B4-BE49-F238E27FC236}">
                <a16:creationId xmlns:a16="http://schemas.microsoft.com/office/drawing/2014/main" id="{5B317894-0E2A-691E-E80F-472ACA1485F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80959" y="1929556"/>
            <a:ext cx="1807696" cy="1755084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47F48666-D3B9-C7D3-9047-487AB6CA423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227574" y="664851"/>
            <a:ext cx="4497172" cy="1394653"/>
          </a:xfrm>
          <a:prstGeom prst="rect">
            <a:avLst/>
          </a:prstGeom>
        </p:spPr>
        <p:txBody>
          <a:bodyPr vert="horz" wrap="none" lIns="0" tIns="6065" rIns="0" bIns="0" rtlCol="0" anchor="t">
            <a:noAutofit/>
          </a:bodyPr>
          <a:lstStyle>
            <a:lvl1pPr>
              <a:defRPr sz="2547" b="1" i="0">
                <a:solidFill>
                  <a:srgbClr val="231F20"/>
                </a:solidFill>
                <a:latin typeface="Slate Pro"/>
                <a:ea typeface="+mj-ea"/>
                <a:cs typeface="Slate Pro"/>
              </a:defRPr>
            </a:lvl1pPr>
          </a:lstStyle>
          <a:p>
            <a:pPr defTabSz="914400">
              <a:lnSpc>
                <a:spcPts val="2500"/>
              </a:lnSpc>
              <a:spcBef>
                <a:spcPts val="48"/>
              </a:spcBef>
              <a:defRPr/>
            </a:pPr>
            <a:r>
              <a:rPr lang="de-AT" sz="20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Le </a:t>
            </a:r>
            <a:r>
              <a:rPr lang="de-AT" sz="200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soluzioni</a:t>
            </a:r>
            <a:r>
              <a:rPr lang="de-AT" sz="20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de-AT" sz="200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wienerberger</a:t>
            </a:r>
            <a:r>
              <a:rPr lang="de-AT" sz="20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riflettono</a:t>
            </a:r>
            <a:endParaRPr lang="de-AT" sz="2000">
              <a:solidFill>
                <a:schemeClr val="tx1"/>
              </a:solidFill>
              <a:latin typeface="Open Sans" panose="020B0606030504020204" pitchFamily="34" charset="0"/>
              <a:ea typeface="Open Sans"/>
              <a:cs typeface="Open Sans"/>
            </a:endParaRPr>
          </a:p>
          <a:p>
            <a:pPr marR="0" lvl="0" indent="0" defTabSz="914400" eaLnBrk="1" fontAlgn="auto" latinLnBrk="0" hangingPunct="1">
              <a:lnSpc>
                <a:spcPts val="2500"/>
              </a:lnSpc>
              <a:spcBef>
                <a:spcPts val="4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20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i </a:t>
            </a:r>
            <a:r>
              <a:rPr lang="de-AT" sz="2000" err="1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tre</a:t>
            </a:r>
            <a:r>
              <a:rPr lang="de-AT" sz="20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 </a:t>
            </a:r>
            <a:r>
              <a:rPr lang="de-AT" sz="2000" err="1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principi</a:t>
            </a:r>
            <a:r>
              <a:rPr lang="de-AT" sz="20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 CAM </a:t>
            </a:r>
            <a:r>
              <a:rPr lang="de-AT" sz="2000" err="1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dell‘involucro</a:t>
            </a:r>
            <a:r>
              <a:rPr lang="de-AT" sz="20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 </a:t>
            </a:r>
            <a:r>
              <a:rPr lang="de-AT" sz="2000" err="1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rPr>
              <a:t>edilizio</a:t>
            </a:r>
            <a:endParaRPr lang="de-AT" sz="2000">
              <a:solidFill>
                <a:schemeClr val="tx1"/>
              </a:solidFill>
              <a:latin typeface="Open Sans" panose="020B0606030504020204" pitchFamily="34" charset="0"/>
              <a:ea typeface="+mn-ea"/>
              <a:cs typeface="+mn-cs"/>
            </a:endParaRPr>
          </a:p>
        </p:txBody>
      </p:sp>
      <p:pic>
        <p:nvPicPr>
          <p:cNvPr id="8" name="object 75">
            <a:extLst>
              <a:ext uri="{FF2B5EF4-FFF2-40B4-BE49-F238E27FC236}">
                <a16:creationId xmlns:a16="http://schemas.microsoft.com/office/drawing/2014/main" id="{8BE5331B-F7D6-72CF-35B3-1DE6D942BDD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770" y="653744"/>
            <a:ext cx="599735" cy="597966"/>
          </a:xfrm>
          <a:prstGeom prst="rect">
            <a:avLst/>
          </a:prstGeom>
        </p:spPr>
      </p:pic>
      <p:sp>
        <p:nvSpPr>
          <p:cNvPr id="12" name="Foliennummernplatzhalter 1">
            <a:extLst>
              <a:ext uri="{FF2B5EF4-FFF2-40B4-BE49-F238E27FC236}">
                <a16:creationId xmlns:a16="http://schemas.microsoft.com/office/drawing/2014/main" id="{2F0A34C4-0AD1-5C36-2421-ADEEAFF78B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1188" y="4747492"/>
            <a:ext cx="7921625" cy="16423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85783" rtl="0" eaLnBrk="1" latinLnBrk="0" hangingPunct="1">
              <a:defRPr sz="600" b="0" i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C4007-1C36-BD4C-B7E8-11061F6EFA14}" type="slidenum">
              <a:rPr lang="de-AT" smtClean="0"/>
              <a:pPr/>
              <a:t>1</a:t>
            </a:fld>
            <a:endParaRPr lang="de-AT"/>
          </a:p>
        </p:txBody>
      </p: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B01B847B-4112-537D-4643-F30F2A97372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86641" y="1908895"/>
            <a:ext cx="1755084" cy="1755084"/>
            <a:chOff x="3972986" y="389527"/>
            <a:chExt cx="1256674" cy="1256674"/>
          </a:xfrm>
        </p:grpSpPr>
        <p:sp>
          <p:nvSpPr>
            <p:cNvPr id="7" name="Connettore 6">
              <a:extLst>
                <a:ext uri="{FF2B5EF4-FFF2-40B4-BE49-F238E27FC236}">
                  <a16:creationId xmlns:a16="http://schemas.microsoft.com/office/drawing/2014/main" id="{1D1649FF-FFA2-8FC4-CBDD-3567E124637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972986" y="389527"/>
              <a:ext cx="1256674" cy="1256674"/>
            </a:xfrm>
            <a:prstGeom prst="flowChartConnector">
              <a:avLst/>
            </a:prstGeom>
            <a:solidFill>
              <a:srgbClr val="DF464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11" name="CasellaDiTesto 14">
              <a:extLst>
                <a:ext uri="{FF2B5EF4-FFF2-40B4-BE49-F238E27FC236}">
                  <a16:creationId xmlns:a16="http://schemas.microsoft.com/office/drawing/2014/main" id="{F5B9B2A5-7B4E-8840-2325-04CE377AD02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 bwMode="auto">
            <a:xfrm>
              <a:off x="4028630" y="848203"/>
              <a:ext cx="1159026" cy="264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/>
              <a:r>
                <a:rPr lang="en-US" sz="1800" err="1">
                  <a:solidFill>
                    <a:schemeClr val="bg1"/>
                  </a:solidFill>
                  <a:latin typeface="+mj-lt"/>
                </a:rPr>
                <a:t>Massività</a:t>
              </a:r>
              <a:endParaRPr lang="en-GB" sz="180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167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1CC272-8B80-747D-FE69-8CAD263C1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C2C8978-7CDF-F2FE-4CBD-A3B2FB2D65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31" t="1525" r="698" b="7764"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  <a:solidFill>
            <a:srgbClr val="F2F2F3"/>
          </a:solidFill>
        </p:spPr>
      </p:pic>
      <p:sp>
        <p:nvSpPr>
          <p:cNvPr id="11" name="Connettore 10">
            <a:extLst>
              <a:ext uri="{FF2B5EF4-FFF2-40B4-BE49-F238E27FC236}">
                <a16:creationId xmlns:a16="http://schemas.microsoft.com/office/drawing/2014/main" id="{E0741859-F562-51AD-2E5B-BD2CBAB616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9488557">
            <a:off x="5501882" y="1318194"/>
            <a:ext cx="3155753" cy="3210347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CB72A3C8-CCD3-7885-3070-686C1CCB5C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8350" y="1324541"/>
            <a:ext cx="3135160" cy="3135160"/>
          </a:xfrm>
          <a:prstGeom prst="ellipse">
            <a:avLst/>
          </a:prstGeom>
        </p:spPr>
      </p:pic>
      <p:pic>
        <p:nvPicPr>
          <p:cNvPr id="9" name="object 75">
            <a:extLst>
              <a:ext uri="{FF2B5EF4-FFF2-40B4-BE49-F238E27FC236}">
                <a16:creationId xmlns:a16="http://schemas.microsoft.com/office/drawing/2014/main" id="{87CD227F-FA01-FCD5-DD6A-D189F19B2A4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188" y="1411874"/>
            <a:ext cx="599735" cy="597966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285814F-676E-258F-BEAA-E1E4C16D192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92108" y="1374854"/>
            <a:ext cx="4633553" cy="627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ts val="2500"/>
              </a:lnSpc>
            </a:pPr>
            <a:r>
              <a:rPr lang="it-IT" sz="2000" b="1">
                <a:latin typeface="Open Sans" panose="020B0606030504020204" pitchFamily="34" charset="0"/>
              </a:rPr>
              <a:t>La massività del Sistema </a:t>
            </a:r>
            <a:r>
              <a:rPr lang="it-IT" sz="2000" b="1" err="1">
                <a:latin typeface="Open Sans" panose="020B0606030504020204" pitchFamily="34" charset="0"/>
              </a:rPr>
              <a:t>Porotherm</a:t>
            </a:r>
            <a:r>
              <a:rPr lang="it-IT" sz="2000" b="1">
                <a:latin typeface="Open Sans" panose="020B0606030504020204" pitchFamily="34" charset="0"/>
              </a:rPr>
              <a:t> favorisce il comfort abitativo</a:t>
            </a:r>
          </a:p>
        </p:txBody>
      </p:sp>
      <p:sp>
        <p:nvSpPr>
          <p:cNvPr id="29" name="Foliennummernplatzhalter 1">
            <a:extLst>
              <a:ext uri="{FF2B5EF4-FFF2-40B4-BE49-F238E27FC236}">
                <a16:creationId xmlns:a16="http://schemas.microsoft.com/office/drawing/2014/main" id="{D7088C2A-CE10-D11B-3451-83D27C8EBCD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1188" y="4747492"/>
            <a:ext cx="7921625" cy="16423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85783" rtl="0" eaLnBrk="1" latinLnBrk="0" hangingPunct="1">
              <a:defRPr sz="600" b="0" i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C4007-1C36-BD4C-B7E8-11061F6EFA14}" type="slidenum">
              <a:rPr lang="de-AT" smtClean="0"/>
              <a:pPr/>
              <a:t>2</a:t>
            </a:fld>
            <a:endParaRPr lang="de-A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BB00B8DD-DA31-0327-39B6-C7CE36EC6D5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92110" y="2393823"/>
            <a:ext cx="3812936" cy="260430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ts val="1400"/>
              </a:lnSpc>
            </a:pPr>
            <a:r>
              <a:rPr lang="it-IT" sz="1000" dirty="0"/>
              <a:t>Il sistema </a:t>
            </a:r>
            <a:r>
              <a:rPr lang="it-IT" sz="1000" dirty="0" err="1"/>
              <a:t>Porotherm</a:t>
            </a:r>
            <a:r>
              <a:rPr lang="it-IT" sz="1000" dirty="0"/>
              <a:t> è un involucro massivo monostrato in grado di garantire comfort termico duraturo, grazie alla combinazione di massa continua e giunto sottile, senza l’impiego di isolanti aggiuntivi.</a:t>
            </a:r>
          </a:p>
          <a:p>
            <a:pPr>
              <a:lnSpc>
                <a:spcPts val="1400"/>
              </a:lnSpc>
            </a:pPr>
            <a:endParaRPr lang="it-IT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dirty="0"/>
              <a:t>Sfasamento termico superiore alle 24 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dirty="0"/>
              <a:t>Comportamento termico stabile in estate e inver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dirty="0"/>
              <a:t>Risposta naturale ai requisiti CAM</a:t>
            </a:r>
          </a:p>
          <a:p>
            <a:pPr>
              <a:lnSpc>
                <a:spcPts val="1400"/>
              </a:lnSpc>
            </a:pPr>
            <a:endParaRPr lang="it-IT" sz="1000" dirty="0"/>
          </a:p>
          <a:p>
            <a:pPr>
              <a:lnSpc>
                <a:spcPts val="1400"/>
              </a:lnSpc>
            </a:pPr>
            <a:r>
              <a:rPr lang="it-IT" sz="1000" b="1" dirty="0"/>
              <a:t>Comfort misurabile, con </a:t>
            </a:r>
            <a:r>
              <a:rPr lang="it-IT" sz="1000" b="1" dirty="0" err="1"/>
              <a:t>prestazIoni</a:t>
            </a:r>
            <a:r>
              <a:rPr lang="it-IT" sz="1000" b="1" dirty="0"/>
              <a:t> coerenti ai CAM 2025.</a:t>
            </a:r>
          </a:p>
          <a:p>
            <a:pPr>
              <a:lnSpc>
                <a:spcPts val="1400"/>
              </a:lnSpc>
            </a:pPr>
            <a:endParaRPr lang="it-IT" sz="1000" dirty="0"/>
          </a:p>
          <a:p>
            <a:pPr>
              <a:lnSpc>
                <a:spcPts val="1400"/>
              </a:lnSpc>
            </a:pPr>
            <a:endParaRPr lang="it-IT" sz="1000" dirty="0"/>
          </a:p>
          <a:p>
            <a:pPr>
              <a:lnSpc>
                <a:spcPts val="1400"/>
              </a:lnSpc>
            </a:pPr>
            <a:endParaRPr lang="it-IT" sz="1000" dirty="0"/>
          </a:p>
          <a:p>
            <a:pPr>
              <a:lnSpc>
                <a:spcPts val="1400"/>
              </a:lnSpc>
            </a:pPr>
            <a:endParaRPr lang="it-IT" sz="1000" dirty="0"/>
          </a:p>
          <a:p>
            <a:pPr>
              <a:lnSpc>
                <a:spcPts val="1400"/>
              </a:lnSpc>
            </a:pPr>
            <a:endParaRPr lang="it-IT" sz="1000" b="1" noProof="0" dirty="0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8" name="Immagine 37" descr="Immagine che contiene nero, oscurità&#10;&#10;AI-generated content may be incorrect.">
            <a:extLst>
              <a:ext uri="{FF2B5EF4-FFF2-40B4-BE49-F238E27FC236}">
                <a16:creationId xmlns:a16="http://schemas.microsoft.com/office/drawing/2014/main" id="{D3CF1757-EB36-7AD3-AB55-5502AF227B0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2840" y="44469"/>
            <a:ext cx="1539240" cy="532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119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CC700F-0907-42BD-0D94-0BF58D9AC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0732CF2-6A52-9278-0F9D-592C60AF92D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92109" y="1382552"/>
            <a:ext cx="4382655" cy="627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ts val="2500"/>
              </a:lnSpc>
            </a:pPr>
            <a:r>
              <a:rPr lang="it-IT" sz="2000" b="1">
                <a:latin typeface="Open Sans" panose="020B0606030504020204" pitchFamily="34" charset="0"/>
              </a:rPr>
              <a:t>Continuità dell’involucro per prestazioni senza interruzioni</a:t>
            </a:r>
            <a:endParaRPr lang="it-IT" sz="2000" b="1" noProof="0">
              <a:effectLst/>
              <a:latin typeface="Open Sans" panose="020B0606030504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40860F9-CC4A-3C4F-9F7D-8C20A119009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Connettore 21">
            <a:extLst>
              <a:ext uri="{FF2B5EF4-FFF2-40B4-BE49-F238E27FC236}">
                <a16:creationId xmlns:a16="http://schemas.microsoft.com/office/drawing/2014/main" id="{FFFD70CB-41EE-1DDF-BADB-F46249269E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9488557">
            <a:off x="5501882" y="1318194"/>
            <a:ext cx="3155753" cy="3210347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Foliennummernplatzhalter 1">
            <a:extLst>
              <a:ext uri="{FF2B5EF4-FFF2-40B4-BE49-F238E27FC236}">
                <a16:creationId xmlns:a16="http://schemas.microsoft.com/office/drawing/2014/main" id="{7DACD6B4-D3F6-AA95-9466-8E6BD4BDA6D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1188" y="4747492"/>
            <a:ext cx="7921625" cy="16423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85783" rtl="0" eaLnBrk="1" latinLnBrk="0" hangingPunct="1">
              <a:defRPr sz="600" b="0" i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C4007-1C36-BD4C-B7E8-11061F6EFA14}" type="slidenum">
              <a:rPr lang="de-AT" smtClean="0"/>
              <a:pPr/>
              <a:t>3</a:t>
            </a:fld>
            <a:endParaRPr lang="de-AT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2CD2D48F-5DE6-DC16-DEE8-95682918F82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92111" y="2439543"/>
            <a:ext cx="3949510" cy="14501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it-IT" sz="1000"/>
              <a:t>La continuità prestazionale nasce dall’integrazione tra muratura </a:t>
            </a:r>
            <a:r>
              <a:rPr lang="it-IT" sz="1000" err="1"/>
              <a:t>Porotherm</a:t>
            </a:r>
            <a:r>
              <a:rPr lang="it-IT" sz="1000"/>
              <a:t>, giunto sottile e accessori correttivi come Thermal T, che garantiscono la gestione efficace i nodi costruttivi.</a:t>
            </a:r>
          </a:p>
          <a:p>
            <a:pPr>
              <a:lnSpc>
                <a:spcPts val="1400"/>
              </a:lnSpc>
            </a:pPr>
            <a:endParaRPr lang="it-IT" sz="1000" b="1" noProof="0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/>
              <a:t>Correzione termica dei nodi e riduzione dei ponti termic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/>
              <a:t>Comfort termo-igrometrico e prevenzione muf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/>
              <a:t>Involucro omogeneo in laterizio</a:t>
            </a:r>
          </a:p>
          <a:p>
            <a:pPr>
              <a:lnSpc>
                <a:spcPts val="1400"/>
              </a:lnSpc>
            </a:pPr>
            <a:endParaRPr lang="it-IT" sz="1000" b="1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ts val="1400"/>
              </a:lnSpc>
            </a:pPr>
            <a:r>
              <a:rPr lang="it-IT" sz="10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stazioni continue, verificate su tutto l’involucro.</a:t>
            </a:r>
            <a:endParaRPr lang="it-IT" sz="1000" b="1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Immagine 4" descr="Immagine che contiene nero, oscurità&#10;&#10;AI-generated content may be incorrect.">
            <a:extLst>
              <a:ext uri="{FF2B5EF4-FFF2-40B4-BE49-F238E27FC236}">
                <a16:creationId xmlns:a16="http://schemas.microsoft.com/office/drawing/2014/main" id="{E796CCBE-AEBE-F1C2-2835-33DEE3EF52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2840" y="44469"/>
            <a:ext cx="1539240" cy="532126"/>
          </a:xfrm>
          <a:prstGeom prst="rect">
            <a:avLst/>
          </a:prstGeom>
        </p:spPr>
      </p:pic>
      <p:pic>
        <p:nvPicPr>
          <p:cNvPr id="8" name="Immagine 7" descr="Immagine che contiene cielo, aria aperta, edificio, nuvola&#10;&#10;Descrizione generata automaticamente">
            <a:extLst>
              <a:ext uri="{FF2B5EF4-FFF2-40B4-BE49-F238E27FC236}">
                <a16:creationId xmlns:a16="http://schemas.microsoft.com/office/drawing/2014/main" id="{AC426E48-DA78-59BA-B2CD-7E3C1513F7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478350" y="1324540"/>
            <a:ext cx="3135160" cy="3135160"/>
          </a:xfrm>
          <a:prstGeom prst="ellipse">
            <a:avLst/>
          </a:prstGeom>
        </p:spPr>
      </p:pic>
      <p:pic>
        <p:nvPicPr>
          <p:cNvPr id="23" name="object 75">
            <a:extLst>
              <a:ext uri="{FF2B5EF4-FFF2-40B4-BE49-F238E27FC236}">
                <a16:creationId xmlns:a16="http://schemas.microsoft.com/office/drawing/2014/main" id="{688C3F73-2D51-8C3C-0DE1-BC65FF176AA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188" y="1411874"/>
            <a:ext cx="599735" cy="59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08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C1E584-69F4-B77E-3C77-D6275CC92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nettore 7">
            <a:extLst>
              <a:ext uri="{FF2B5EF4-FFF2-40B4-BE49-F238E27FC236}">
                <a16:creationId xmlns:a16="http://schemas.microsoft.com/office/drawing/2014/main" id="{8B38696B-D4A0-8ACD-D6E6-B129FB2338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9488557">
            <a:off x="5501882" y="1318194"/>
            <a:ext cx="3155753" cy="3210347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EDADE1F-A694-4471-81AC-47068EE8B10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31" t="1525" r="698" b="7764"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  <a:ln>
            <a:solidFill>
              <a:srgbClr val="F2F2F3"/>
            </a:solidFill>
          </a:ln>
        </p:spPr>
      </p:pic>
      <p:pic>
        <p:nvPicPr>
          <p:cNvPr id="9" name="object 75">
            <a:extLst>
              <a:ext uri="{FF2B5EF4-FFF2-40B4-BE49-F238E27FC236}">
                <a16:creationId xmlns:a16="http://schemas.microsoft.com/office/drawing/2014/main" id="{0A3A5476-136A-D661-8F75-4E31995DE73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188" y="1411874"/>
            <a:ext cx="599735" cy="597966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A14298A-8526-8625-E323-82E2F8EFB1A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92108" y="1374854"/>
            <a:ext cx="3988783" cy="627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ts val="2500"/>
              </a:lnSpc>
            </a:pPr>
            <a:r>
              <a:rPr lang="it-IT" sz="2000" b="1" noProof="0" dirty="0">
                <a:effectLst/>
                <a:latin typeface="Open Sans" panose="020B0606030504020204" pitchFamily="34" charset="0"/>
              </a:rPr>
              <a:t>Il sistema parete-facciavista rafforza la durabilità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DDA1211-A3E3-DC9B-5B1D-331E9D093CF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89920" y="2376991"/>
            <a:ext cx="3717363" cy="16671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ts val="1400"/>
              </a:lnSpc>
            </a:pPr>
            <a:r>
              <a:rPr lang="it-IT" sz="1000"/>
              <a:t>La combinazione tra parete massiva </a:t>
            </a:r>
            <a:r>
              <a:rPr lang="it-IT" sz="1000" err="1"/>
              <a:t>Porotherm</a:t>
            </a:r>
            <a:r>
              <a:rPr lang="it-IT" sz="1000"/>
              <a:t> e rivestimenti facciavista crea un sistema edilizio minerale durevole, stabile nel tempo e caratterizzato da prestazioni che non si alterano lungo il ciclo di vita dell’edificio.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endParaRPr lang="it-IT" sz="1000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/>
              <a:t>Stabilità prestazionale per oltre 100 ann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/>
              <a:t>Elevata resistenza agli agenti atmosferic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/>
              <a:t>Minore necessità di manutenzione</a:t>
            </a:r>
          </a:p>
          <a:p>
            <a:endParaRPr lang="it-IT" sz="1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it-IT" sz="1000" b="1"/>
              <a:t>Un sistema ingrato che dura nel tempo.</a:t>
            </a:r>
            <a:endParaRPr lang="it-IT" sz="1000" b="1" i="0" baseline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Foliennummernplatzhalter 1">
            <a:extLst>
              <a:ext uri="{FF2B5EF4-FFF2-40B4-BE49-F238E27FC236}">
                <a16:creationId xmlns:a16="http://schemas.microsoft.com/office/drawing/2014/main" id="{61128B3D-F255-3C5E-7500-8421BE10334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1188" y="4747492"/>
            <a:ext cx="7921625" cy="16423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85783" rtl="0" eaLnBrk="1" latinLnBrk="0" hangingPunct="1">
              <a:defRPr sz="600" b="0" i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C4007-1C36-BD4C-B7E8-11061F6EFA14}" type="slidenum">
              <a:rPr lang="de-AT" smtClean="0"/>
              <a:pPr/>
              <a:t>4</a:t>
            </a:fld>
            <a:endParaRPr lang="de-AT"/>
          </a:p>
        </p:txBody>
      </p:sp>
      <p:pic>
        <p:nvPicPr>
          <p:cNvPr id="7" name="Immagine 6" descr="Immagine che contiene nero, oscurità&#10;&#10;AI-generated content may be incorrect.">
            <a:extLst>
              <a:ext uri="{FF2B5EF4-FFF2-40B4-BE49-F238E27FC236}">
                <a16:creationId xmlns:a16="http://schemas.microsoft.com/office/drawing/2014/main" id="{5025D811-175F-231C-A990-CB304D7D703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2840" y="44469"/>
            <a:ext cx="1539240" cy="532126"/>
          </a:xfrm>
          <a:prstGeom prst="rect">
            <a:avLst/>
          </a:prstGeom>
        </p:spPr>
      </p:pic>
      <p:pic>
        <p:nvPicPr>
          <p:cNvPr id="4" name="Immagine 3" descr="Immagine che contiene cielo, nuvola, orologio, edificio&#10;&#10;Il contenuto generato dall'IA potrebbe non essere corretto.">
            <a:extLst>
              <a:ext uri="{FF2B5EF4-FFF2-40B4-BE49-F238E27FC236}">
                <a16:creationId xmlns:a16="http://schemas.microsoft.com/office/drawing/2014/main" id="{21A7194F-EC7D-2199-C6C9-5CD68482736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470729" y="1318871"/>
            <a:ext cx="3142781" cy="314082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211109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BABB34-6794-1343-17F8-3B1BF5C90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51D1637-7BE6-CFE1-248D-CCBA52450A5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8052" y="1235396"/>
            <a:ext cx="4777740" cy="4015232"/>
          </a:xfrm>
          <a:prstGeom prst="rect">
            <a:avLst/>
          </a:prstGeom>
        </p:spPr>
      </p:pic>
      <p:sp>
        <p:nvSpPr>
          <p:cNvPr id="3" name="object 16">
            <a:extLst>
              <a:ext uri="{FF2B5EF4-FFF2-40B4-BE49-F238E27FC236}">
                <a16:creationId xmlns:a16="http://schemas.microsoft.com/office/drawing/2014/main" id="{2A2A46D8-FC62-4A51-CCA2-E47B1F0C5A6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37684" y="2718482"/>
            <a:ext cx="2622578" cy="1074907"/>
          </a:xfrm>
          <a:prstGeom prst="rect">
            <a:avLst/>
          </a:prstGeom>
        </p:spPr>
        <p:txBody>
          <a:bodyPr vert="horz" wrap="none" lIns="0" tIns="70178" rIns="0" bIns="0" rtlCol="0">
            <a:noAutofit/>
          </a:bodyPr>
          <a:lstStyle/>
          <a:p>
            <a:pPr marR="2310">
              <a:lnSpc>
                <a:spcPts val="2500"/>
              </a:lnSpc>
            </a:pPr>
            <a:endParaRPr sz="2300" b="1">
              <a:latin typeface="Open Sans SemiBold" panose="020B0606030504020204" pitchFamily="34" charset="0"/>
              <a:cs typeface="SlatePro-Medium"/>
            </a:endParaRPr>
          </a:p>
        </p:txBody>
      </p:sp>
      <p:sp>
        <p:nvSpPr>
          <p:cNvPr id="18" name="Foliennummernplatzhalter 1">
            <a:extLst>
              <a:ext uri="{FF2B5EF4-FFF2-40B4-BE49-F238E27FC236}">
                <a16:creationId xmlns:a16="http://schemas.microsoft.com/office/drawing/2014/main" id="{7E00386E-421A-FD3A-9B66-C53A6973A1B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1189" y="4747492"/>
            <a:ext cx="7921625" cy="16423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85783" rtl="0" eaLnBrk="1" latinLnBrk="0" hangingPunct="1">
              <a:defRPr sz="600" b="0" i="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C4007-1C36-BD4C-B7E8-11061F6EFA14}" type="slidenum">
              <a:rPr lang="de-AT"/>
              <a:pPr/>
              <a:t>5</a:t>
            </a:fld>
            <a:endParaRPr lang="de-AT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7650F4E-A536-905B-D90E-D25B48AC659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063573" y="2980440"/>
            <a:ext cx="340946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>
                <a:solidFill>
                  <a:schemeClr val="bg1"/>
                </a:solidFill>
                <a:latin typeface="+mj-lt"/>
              </a:rPr>
              <a:t>Il</a:t>
            </a:r>
            <a:r>
              <a:rPr lang="it-IT" sz="2000" b="1">
                <a:solidFill>
                  <a:schemeClr val="bg1"/>
                </a:solidFill>
                <a:latin typeface="+mj-lt"/>
              </a:rPr>
              <a:t> laterizio </a:t>
            </a:r>
          </a:p>
          <a:p>
            <a:r>
              <a:rPr lang="it-IT" sz="2000">
                <a:solidFill>
                  <a:schemeClr val="bg1"/>
                </a:solidFill>
                <a:latin typeface="+mj-lt"/>
              </a:rPr>
              <a:t>sostiene l’efficienza e l’eccellenza dell’involucro</a:t>
            </a:r>
            <a:endParaRPr lang="de-AT" sz="20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Immagine 1" descr="Immagine che contiene nero, oscurità&#10;&#10;AI-generated content may be incorrect.">
            <a:extLst>
              <a:ext uri="{FF2B5EF4-FFF2-40B4-BE49-F238E27FC236}">
                <a16:creationId xmlns:a16="http://schemas.microsoft.com/office/drawing/2014/main" id="{EC01ACC4-BEBA-55FF-460E-16DCC03C30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2840" y="44469"/>
            <a:ext cx="1539240" cy="532126"/>
          </a:xfrm>
          <a:prstGeom prst="rect">
            <a:avLst/>
          </a:prstGeom>
        </p:spPr>
      </p:pic>
      <p:pic>
        <p:nvPicPr>
          <p:cNvPr id="13" name="Immagine 12" descr="Immagine che contiene schermata&#10;&#10;Descrizione generata automaticamente">
            <a:extLst>
              <a:ext uri="{FF2B5EF4-FFF2-40B4-BE49-F238E27FC236}">
                <a16:creationId xmlns:a16="http://schemas.microsoft.com/office/drawing/2014/main" id="{4E2FF485-EAC9-6DFA-EE39-D0AA39AF879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5245" t="-38064" b="-10154"/>
          <a:stretch>
            <a:fillRect/>
          </a:stretch>
        </p:blipFill>
        <p:spPr>
          <a:xfrm>
            <a:off x="-3430426" y="-2047232"/>
            <a:ext cx="8434226" cy="7734292"/>
          </a:xfrm>
          <a:prstGeom prst="ellipse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6672A21-23C4-FE2F-382B-3A50935AAE8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198" t="16326" r="17665" b="16981"/>
          <a:stretch/>
        </p:blipFill>
        <p:spPr>
          <a:xfrm>
            <a:off x="4196523" y="2897823"/>
            <a:ext cx="716223" cy="716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430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S1LAYOUTCOUNT" val="49"/>
  <p:tag name="DES2LAYOUTCOUNT" val="49"/>
  <p:tag name="EE4P_LANGUAGE_ID" val="3079"/>
  <p:tag name="EE4P_STYLE_ID" val="6cd991bf-f022-4378-96e7-2c338aeb3f5a"/>
  <p:tag name="LANG_DEF" val="3079"/>
  <p:tag name="LANG_NAME" val="German Austria"/>
  <p:tag name="LINGO_COUNT" val="25"/>
  <p:tag name="MASTCOUNT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Wienerberger_AG">
  <a:themeElements>
    <a:clrScheme name="wienerberger Colors 2024">
      <a:dk1>
        <a:srgbClr val="000000"/>
      </a:dk1>
      <a:lt1>
        <a:srgbClr val="FFFFFF"/>
      </a:lt1>
      <a:dk2>
        <a:srgbClr val="47683C"/>
      </a:dk2>
      <a:lt2>
        <a:srgbClr val="ECEDED"/>
      </a:lt2>
      <a:accent1>
        <a:srgbClr val="2C98C8"/>
      </a:accent1>
      <a:accent2>
        <a:srgbClr val="781616"/>
      </a:accent2>
      <a:accent3>
        <a:srgbClr val="F9B45C"/>
      </a:accent3>
      <a:accent4>
        <a:srgbClr val="B4CFE7"/>
      </a:accent4>
      <a:accent5>
        <a:srgbClr val="DD9D8B"/>
      </a:accent5>
      <a:accent6>
        <a:srgbClr val="59834E"/>
      </a:accent6>
      <a:hlink>
        <a:srgbClr val="24202C"/>
      </a:hlink>
      <a:folHlink>
        <a:srgbClr val="585461"/>
      </a:folHlink>
    </a:clrScheme>
    <a:fontScheme name="WB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22225"/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spAutoFit/>
      </a:bodyPr>
      <a:lstStyle>
        <a:defPPr algn="l">
          <a:defRPr sz="1400" b="0" i="0" baseline="0" dirty="0" smtClean="0"/>
        </a:defPPr>
      </a:lstStyle>
    </a:txDef>
  </a:objectDefaults>
  <a:extraClrSchemeLst/>
  <a:custClrLst>
    <a:custClr name="Market stable">
      <a:srgbClr val="F7CAA6"/>
    </a:custClr>
    <a:custClr name="Market growth">
      <a:srgbClr val="96C79C"/>
    </a:custClr>
    <a:custClr name="Market decline">
      <a:srgbClr val="E4564A"/>
    </a:custClr>
    <a:custClr name="Semmelrock green">
      <a:srgbClr val="00914A"/>
    </a:custClr>
    <a:custClr name="Semmelrock grey">
      <a:srgbClr val="707172"/>
    </a:custClr>
    <a:custClr name="PipeLife blue">
      <a:srgbClr val="003DA5"/>
    </a:custClr>
    <a:custClr name="Steinzeug-Keramo blue">
      <a:srgbClr val="2459A6"/>
    </a:custClr>
    <a:custClr name="Steinzeug-Keramo red">
      <a:srgbClr val="AE0B04"/>
    </a:custClr>
    <a:custClr name="Steinzeug-Keramo grey">
      <a:srgbClr val="878682"/>
    </a:custClr>
    <a:custClr name="CBME red">
      <a:srgbClr val="B30000"/>
    </a:custClr>
  </a:custClrLst>
  <a:extLst>
    <a:ext uri="{05A4C25C-085E-4340-85A3-A5531E510DB2}">
      <thm15:themeFamily xmlns:thm15="http://schemas.microsoft.com/office/thememl/2012/main" name="Presentation3" id="{2155A4C5-9025-408A-82D0-47A3AC031489}" vid="{AA7448BE-2455-4C0A-A045-8E8D4A4E4D99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c966cdf-169c-47e8-961f-987eef30ec50">
      <Terms xmlns="http://schemas.microsoft.com/office/infopath/2007/PartnerControls"/>
    </lcf76f155ced4ddcb4097134ff3c332f>
    <TaxCatchAll xmlns="af15c1db-c92d-4bf4-ba8e-88744078168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78B58D162FBE54C95009256356DAF61" ma:contentTypeVersion="14" ma:contentTypeDescription="Creare un nuovo documento." ma:contentTypeScope="" ma:versionID="a8e8511340aff3d21a2cc99174bf4a89">
  <xsd:schema xmlns:xsd="http://www.w3.org/2001/XMLSchema" xmlns:xs="http://www.w3.org/2001/XMLSchema" xmlns:p="http://schemas.microsoft.com/office/2006/metadata/properties" xmlns:ns2="3c966cdf-169c-47e8-961f-987eef30ec50" xmlns:ns3="af15c1db-c92d-4bf4-ba8e-887440781686" targetNamespace="http://schemas.microsoft.com/office/2006/metadata/properties" ma:root="true" ma:fieldsID="4b4a5f7b9f6102fab55c9989d40dd6a5" ns2:_="" ns3:_="">
    <xsd:import namespace="3c966cdf-169c-47e8-961f-987eef30ec50"/>
    <xsd:import namespace="af15c1db-c92d-4bf4-ba8e-8874407816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966cdf-169c-47e8-961f-987eef30ec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c915ecfd-efe5-44af-bdd2-d1c8669c39d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15c1db-c92d-4bf4-ba8e-887440781686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49fc603d-1a91-4733-9852-2d877f4d3a35}" ma:internalName="TaxCatchAll" ma:showField="CatchAllData" ma:web="af15c1db-c92d-4bf4-ba8e-8874407816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444BA2-CBE1-4DEF-BCBB-A260BF4BB76E}">
  <ds:schemaRefs>
    <ds:schemaRef ds:uri="http://schemas.openxmlformats.org/package/2006/metadata/core-properties"/>
    <ds:schemaRef ds:uri="http://purl.org/dc/terms/"/>
    <ds:schemaRef ds:uri="3c966cdf-169c-47e8-961f-987eef30ec50"/>
    <ds:schemaRef ds:uri="af15c1db-c92d-4bf4-ba8e-887440781686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63B198B-D19C-44B0-A327-7567CB1C7A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5E1010-541E-4421-8B76-788B49DF2487}">
  <ds:schemaRefs>
    <ds:schemaRef ds:uri="3c966cdf-169c-47e8-961f-987eef30ec50"/>
    <ds:schemaRef ds:uri="af15c1db-c92d-4bf4-ba8e-8874407816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2_Slide_Master_Wienerberger_PowerPoint</Template>
  <TotalTime>3</TotalTime>
  <Words>220</Words>
  <Application>Microsoft Office PowerPoint</Application>
  <PresentationFormat>Presentazione su schermo (16:9)</PresentationFormat>
  <Paragraphs>41</Paragraphs>
  <Slides>5</Slides>
  <Notes>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2" baseType="lpstr">
      <vt:lpstr>Arial</vt:lpstr>
      <vt:lpstr>Calibri</vt:lpstr>
      <vt:lpstr>Open Sans</vt:lpstr>
      <vt:lpstr>Open Sans Regular</vt:lpstr>
      <vt:lpstr>Open Sans SemiBold</vt:lpstr>
      <vt:lpstr>Zapf Dingbats</vt:lpstr>
      <vt:lpstr>Wienerberger_AG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Sabine Fischer</dc:creator>
  <cp:keywords/>
  <dc:description/>
  <cp:lastModifiedBy>Raffaella Ciarlo</cp:lastModifiedBy>
  <cp:revision>1</cp:revision>
  <cp:lastPrinted>2026-01-23T16:27:38Z</cp:lastPrinted>
  <dcterms:created xsi:type="dcterms:W3CDTF">2024-06-24T12:21:45Z</dcterms:created>
  <dcterms:modified xsi:type="dcterms:W3CDTF">2026-01-23T16:36:4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8B58D162FBE54C95009256356DAF61</vt:lpwstr>
  </property>
  <property fmtid="{D5CDD505-2E9C-101B-9397-08002B2CF9AE}" pid="3" name="MediaServiceImageTags">
    <vt:lpwstr/>
  </property>
</Properties>
</file>